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6"/>
  </p:notesMasterIdLst>
  <p:sldIdLst>
    <p:sldId id="5413" r:id="rId5"/>
    <p:sldId id="5415" r:id="rId6"/>
    <p:sldId id="2142531769" r:id="rId7"/>
    <p:sldId id="5418" r:id="rId8"/>
    <p:sldId id="5417" r:id="rId9"/>
    <p:sldId id="5420" r:id="rId10"/>
    <p:sldId id="5416" r:id="rId11"/>
    <p:sldId id="5419" r:id="rId12"/>
    <p:sldId id="2142531771" r:id="rId13"/>
    <p:sldId id="2142531761" r:id="rId14"/>
    <p:sldId id="414" r:id="rId15"/>
    <p:sldId id="2142531768" r:id="rId16"/>
    <p:sldId id="256" r:id="rId17"/>
    <p:sldId id="3839" r:id="rId18"/>
    <p:sldId id="3840" r:id="rId19"/>
    <p:sldId id="3841" r:id="rId20"/>
    <p:sldId id="3843" r:id="rId21"/>
    <p:sldId id="3844" r:id="rId22"/>
    <p:sldId id="3845" r:id="rId23"/>
    <p:sldId id="2142531737" r:id="rId24"/>
    <p:sldId id="2142531766" r:id="rId25"/>
    <p:sldId id="2142531767" r:id="rId26"/>
    <p:sldId id="3846" r:id="rId27"/>
    <p:sldId id="2142531734" r:id="rId28"/>
    <p:sldId id="2142531735" r:id="rId29"/>
    <p:sldId id="2142531743" r:id="rId30"/>
    <p:sldId id="269" r:id="rId31"/>
    <p:sldId id="260" r:id="rId32"/>
    <p:sldId id="259" r:id="rId33"/>
    <p:sldId id="267" r:id="rId34"/>
    <p:sldId id="268" r:id="rId35"/>
    <p:sldId id="270" r:id="rId36"/>
    <p:sldId id="261" r:id="rId37"/>
    <p:sldId id="271" r:id="rId38"/>
    <p:sldId id="263" r:id="rId39"/>
    <p:sldId id="266" r:id="rId40"/>
    <p:sldId id="2142531744" r:id="rId41"/>
    <p:sldId id="272" r:id="rId42"/>
    <p:sldId id="2142531745" r:id="rId43"/>
    <p:sldId id="274" r:id="rId44"/>
    <p:sldId id="275" r:id="rId45"/>
    <p:sldId id="257" r:id="rId46"/>
    <p:sldId id="258" r:id="rId47"/>
    <p:sldId id="2142531746" r:id="rId48"/>
    <p:sldId id="264" r:id="rId49"/>
    <p:sldId id="2142531747" r:id="rId50"/>
    <p:sldId id="276" r:id="rId51"/>
    <p:sldId id="277" r:id="rId52"/>
    <p:sldId id="280" r:id="rId53"/>
    <p:sldId id="2142531749" r:id="rId54"/>
    <p:sldId id="2142531764" r:id="rId55"/>
    <p:sldId id="279" r:id="rId56"/>
    <p:sldId id="278" r:id="rId57"/>
    <p:sldId id="2142531748" r:id="rId58"/>
    <p:sldId id="281" r:id="rId59"/>
    <p:sldId id="282" r:id="rId60"/>
    <p:sldId id="2142531750" r:id="rId61"/>
    <p:sldId id="283" r:id="rId62"/>
    <p:sldId id="2142531770" r:id="rId63"/>
    <p:sldId id="2142531751" r:id="rId64"/>
    <p:sldId id="2142531752" r:id="rId65"/>
    <p:sldId id="2142531753" r:id="rId66"/>
    <p:sldId id="2142531754" r:id="rId67"/>
    <p:sldId id="2142531755" r:id="rId68"/>
    <p:sldId id="2142531763" r:id="rId69"/>
    <p:sldId id="2142531757" r:id="rId70"/>
    <p:sldId id="2142531765" r:id="rId71"/>
    <p:sldId id="2142531758" r:id="rId72"/>
    <p:sldId id="2142531759" r:id="rId73"/>
    <p:sldId id="2142531760" r:id="rId74"/>
    <p:sldId id="5411" r:id="rId75"/>
  </p:sldIdLst>
  <p:sldSz cx="12192000" cy="6858000"/>
  <p:notesSz cx="6858000" cy="9144000"/>
  <p:custDataLst>
    <p:tags r:id="rId7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6" autoAdjust="0"/>
    <p:restoredTop sz="94660"/>
  </p:normalViewPr>
  <p:slideViewPr>
    <p:cSldViewPr snapToGrid="0">
      <p:cViewPr varScale="1">
        <p:scale>
          <a:sx n="83" d="100"/>
          <a:sy n="83" d="100"/>
        </p:scale>
        <p:origin x="12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87A944-D542-9144-97BB-8FCEE5EB4AAC}" type="datetimeFigureOut">
              <a:rPr lang="en-US" smtClean="0"/>
              <a:t>12/1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9F6DFF-5AE9-314B-9026-1C23AE406C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386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There are different approaches to handling variation. </a:t>
            </a:r>
            <a:r>
              <a:rPr lang="en-US" b="0"/>
              <a:t>Changing the system to address something that is outside of system control is pointless.</a:t>
            </a:r>
          </a:p>
          <a:p>
            <a:endParaRPr lang="en-US" b="0"/>
          </a:p>
          <a:p>
            <a:r>
              <a:rPr lang="en-US" b="0"/>
              <a:t>Briefly discuss the example of commuting to work.</a:t>
            </a:r>
          </a:p>
          <a:p>
            <a:r>
              <a:rPr lang="en-US" b="0"/>
              <a:t>We will have a look at the Wimbledon Tennis tournament next where you can apply these categories.</a:t>
            </a:r>
          </a:p>
          <a:p>
            <a:r>
              <a:rPr lang="en-US" b="0"/>
              <a:t>After this, we will have a look at how to deal with these two types of varia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0911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996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0872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2535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9F6DFF-5AE9-314B-9026-1C23AE406CAA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6015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9316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6897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09337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1869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5269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8406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4839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3309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6011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87669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3021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7302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49546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2653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2574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59615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178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148399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912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29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3930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88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894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0208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6545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kanban system has more detailed and useful information to help us organize and manage</a:t>
            </a:r>
            <a:r>
              <a:rPr lang="en-US" baseline="0"/>
              <a:t> work</a:t>
            </a:r>
            <a:r>
              <a:rPr lang="en-US"/>
              <a:t>.</a:t>
            </a:r>
          </a:p>
          <a:p>
            <a:r>
              <a:rPr lang="en-US"/>
              <a:t>Specifically in this image: Stages of a Workflow, WIP limits, policies, blocked work, different ticket colors for different types of articles, a limited input que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134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20F36E-342A-214E-B055-2D126B6159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51D34A-BD89-424E-84EC-B0A440E86A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7865E5-47F0-FA4E-9BF3-E188FD62F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66B730-81F7-294A-8DAF-83740037BE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873C01-AE5C-3B4B-832C-AB9F6D0E7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B7B5E93C-A527-3743-BD02-5A10F1AED7AB}"/>
              </a:ext>
            </a:extLst>
          </p:cNvPr>
          <p:cNvSpPr txBox="1">
            <a:spLocks/>
          </p:cNvSpPr>
          <p:nvPr userDrawn="1"/>
        </p:nvSpPr>
        <p:spPr>
          <a:xfrm>
            <a:off x="838200" y="6466078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4253DB4-5079-A444-B4B1-CDF877D0384E}"/>
              </a:ext>
            </a:extLst>
          </p:cNvPr>
          <p:cNvSpPr txBox="1">
            <a:spLocks/>
          </p:cNvSpPr>
          <p:nvPr userDrawn="1"/>
        </p:nvSpPr>
        <p:spPr>
          <a:xfrm>
            <a:off x="4038600" y="6466078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1002349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2C262B-A406-184C-9A53-0A2C1906F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B014DE-FA6C-9849-AC60-2A73DE5996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FEDC74-05DA-354B-9479-70FD159CBAC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1230FC-D525-9C42-B695-D3A9BC046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93F73A-CB3D-3B42-B0DE-23A250FCF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B33BB2-99F5-8C4F-A80D-429F00F16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609EF71-A3DD-9F47-8581-DEAAC577EAC8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A0BF509-EF29-6943-A82D-9665C3615DEF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30656204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27796-0D0C-E345-A639-1DEF4CA11D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83BD64E-FD05-8A41-8BE2-6045EFE70A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2F6BC2-C8D2-8A46-B1FA-6D1801586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9753DD-343C-8B41-BC67-A85D66C1E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CD9B2A-92F7-704F-9CB2-5C02B67BA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77D7533-4A14-A54E-B2CC-F2EB397307CD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99B0EF4-53AD-DE44-9780-44B49E31D5F0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37809221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CF5567B-5896-FD45-A4E6-AE248E915D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055F7D-3317-2248-8519-6152AEF18A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FD9155-D41E-3749-A5EA-8D32BE1855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195E8A-A0C5-704B-A771-B27C5C923E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6431A5-E4FD-744C-9BEA-F3271E777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6D7692B-78CF-9B46-B0C8-B8164D3CD832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B322DFC-4966-5E4E-A71A-C4D5E55EA71E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26202242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299037D5-B8FC-5148-B927-995B3217F2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2763" y="-515938"/>
            <a:ext cx="12297526" cy="68722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07D872-0C9D-334F-B006-A5E4A7BAC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00325"/>
            <a:ext cx="10515600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2D68E3-5162-2B48-A14C-013E4C997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F90DB-B8F9-E041-9351-D1E6EA362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380A5-6DC5-5540-A023-312A856C1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6747374-4A45-C541-A532-E37558D98A5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70040" y="4135755"/>
            <a:ext cx="4683760" cy="365125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 or nam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72217B9-F9D5-9244-8136-E4F9EF8BF5CE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BDAB38E0-95AF-3A4A-834D-3597D4262D6F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18266385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B6C18D61-BC25-9240-B523-7B0E472DEA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475374"/>
            <a:ext cx="12192000" cy="68317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07D872-0C9D-334F-B006-A5E4A7BAC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00325"/>
            <a:ext cx="10515600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2D68E3-5162-2B48-A14C-013E4C997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F90DB-B8F9-E041-9351-D1E6EA362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380A5-6DC5-5540-A023-312A856C1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474D6AFA-58E1-A04B-84AB-33A9D5CCDA2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70040" y="4135755"/>
            <a:ext cx="4683760" cy="365125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 or nam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560BCB8-E865-8940-9CB6-95C8F1CDB6A2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5267CD7-B9B9-5642-A141-6FB208BEBFD7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9594428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B0173CA1-DE15-8149-B251-E5C2C61E8BC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470162"/>
            <a:ext cx="12192000" cy="682651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07D872-0C9D-334F-B006-A5E4A7BAC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00325"/>
            <a:ext cx="10515600" cy="1325563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2D68E3-5162-2B48-A14C-013E4C997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F90DB-B8F9-E041-9351-D1E6EA362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380A5-6DC5-5540-A023-312A856C1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36280" y="6466077"/>
            <a:ext cx="2138680" cy="365125"/>
          </a:xfrm>
        </p:spPr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474D6AFA-58E1-A04B-84AB-33A9D5CCDA2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70040" y="4135755"/>
            <a:ext cx="4683760" cy="365125"/>
          </a:xfrm>
        </p:spPr>
        <p:txBody>
          <a:bodyPr/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 title or name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FBF2476-4748-8540-8F33-A8EE6C6A3F80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7A061EA-8833-7A45-A78F-36205C950F30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25979074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118AA2B-255B-2E45-AB76-FA9073BE7E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422822"/>
            <a:ext cx="12192000" cy="677917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07D872-0C9D-334F-B006-A5E4A7BAC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00325"/>
            <a:ext cx="10515600" cy="132556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2D68E3-5162-2B48-A14C-013E4C997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48F90DB-B8F9-E041-9351-D1E6EA3626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C380A5-6DC5-5540-A023-312A856C1F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E185512-D5B2-4F41-A502-75ED233183E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70040" y="4135755"/>
            <a:ext cx="4683760" cy="365125"/>
          </a:xfrm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 or nam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49C2433-CC3B-2A41-840D-06EAD7644E4C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A859709-2647-CD48-8486-06A1AE0FF4FA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18594172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mparison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51847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5184775" cy="13684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5401D4-DD85-0149-9F34-5075D48F1D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7439" y="1844675"/>
            <a:ext cx="5183189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BA146C-748E-9D47-83CD-C1C4240BE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440" y="2636837"/>
            <a:ext cx="5184774" cy="13684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344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6B429-AEE8-CB45-8E5C-0F649802D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CD962C-2ACE-8B49-804B-E3D21EC100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5539CA-1CB7-9244-B43C-1CE88D6F96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085DA1-91B5-FD4F-869F-6A336593F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9C56D-A85C-C64B-A578-97CA679CD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ED723C52-FB2F-D646-99A6-7932CA36E718}"/>
              </a:ext>
            </a:extLst>
          </p:cNvPr>
          <p:cNvSpPr txBox="1">
            <a:spLocks/>
          </p:cNvSpPr>
          <p:nvPr userDrawn="1"/>
        </p:nvSpPr>
        <p:spPr>
          <a:xfrm>
            <a:off x="862584" y="6472174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0078E59-9E6B-3549-AAE0-83AEA2F94FCB}"/>
              </a:ext>
            </a:extLst>
          </p:cNvPr>
          <p:cNvSpPr txBox="1">
            <a:spLocks/>
          </p:cNvSpPr>
          <p:nvPr userDrawn="1"/>
        </p:nvSpPr>
        <p:spPr>
          <a:xfrm>
            <a:off x="4062984" y="6472174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1630678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2B2E6DAD-C02C-344A-9DDE-79D3D6565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F176EC-7A6D-BA44-B1B6-72FCBB4EC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23C6623-2D87-3349-963B-3C2CAAC748D0}"/>
              </a:ext>
            </a:extLst>
          </p:cNvPr>
          <p:cNvSpPr txBox="1">
            <a:spLocks/>
          </p:cNvSpPr>
          <p:nvPr userDrawn="1"/>
        </p:nvSpPr>
        <p:spPr>
          <a:xfrm>
            <a:off x="161544" y="6456299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5195A90-7714-2A43-8A62-782872DFF547}"/>
              </a:ext>
            </a:extLst>
          </p:cNvPr>
          <p:cNvSpPr txBox="1">
            <a:spLocks/>
          </p:cNvSpPr>
          <p:nvPr userDrawn="1"/>
        </p:nvSpPr>
        <p:spPr>
          <a:xfrm>
            <a:off x="3361944" y="6456299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2100884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53464-9C65-A847-B7EB-D7B33D6B6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B36425-ECEC-7B41-A088-39BD1345FD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FDA3A-883E-8442-B0E8-6075B573CC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CB5F67-CDA6-DA4A-B897-919247A56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7F16B8-0B5B-B549-BCC8-FBCA71FD6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19402DE-CCCC-5943-A2D4-8DC8A7C3FDD2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E9BE313-1E26-D446-801C-8BDCF3D592A3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3247079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7CA79-50C1-BB4C-BFE2-36CF8B697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0DA6E9-ECF0-DE4B-8931-C98600B223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D628FA-CDF0-F143-BCA7-345CEA04DF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A8A217-2327-BA4C-A58E-884F9A7F74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D5E46C-3C47-944A-81D2-F5132BE8F0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4A1D06-1DE6-1347-A3F2-32BBE6A22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92D0100-D2C0-2C46-8207-327601A94132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81025EE-8D87-4945-B75B-EB73F0D2FCAC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2309020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79FA36-9AB5-124C-926B-D52D7023F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436CD1-D62B-EE42-B033-67FA740EBE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DFD72D-83EE-9A4A-9242-7E7B90C634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16DE75-CDC4-754D-AC99-3D58E8E253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A1608D9-5152-7F48-9616-72F42DD0EA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9F0B6E3-D6DD-3244-903F-CF2151D130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DDAB71F-3CCE-4E40-A110-219D6FB27C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A99608-9441-8A4F-AA78-F944B1B09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565C284-70F9-184B-970A-7D0B8F7A0358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925F231-FC4D-644F-B7C4-E711AD540457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21999412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453DA-B32A-1F43-860F-0B045580A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D1623-CAE2-4948-9B92-6B92F4327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0A05ED-D33C-B14F-8C2E-E65B80463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8E41D3-C44C-B94C-91DB-A680DFEC2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6BFB467D-E6BC-F948-AC2B-1C2F31FE327E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980A596F-F0AB-C543-9BAC-D1CCC5C445B5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3916913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1B9E2DD-412E-FD43-A794-CA2CB11C6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15AEF4-1956-2642-BE68-B0CF547A87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56AB38-3721-CF4E-9BBF-DC9187F112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4DC29F0B-836E-5745-AFBE-03B6909F6158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A337EBA-972C-4B48-89B3-3DE201C42245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5353472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EBBA54-EF35-C14B-9FB5-BD9D4400B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7C4FC5-367E-504D-837F-99F5CD073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89BB1C-9B23-B340-82D6-A94BFC5741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0C8A35D-9432-974C-BA99-DFAB0EA165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191A50-156F-9349-BF7C-54169635F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F3E0F1-B5B9-2B4B-AFFA-849D1C71C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E6B626D-C895-1D4E-9552-AEEB25994173}"/>
              </a:ext>
            </a:extLst>
          </p:cNvPr>
          <p:cNvSpPr txBox="1">
            <a:spLocks/>
          </p:cNvSpPr>
          <p:nvPr userDrawn="1"/>
        </p:nvSpPr>
        <p:spPr>
          <a:xfrm>
            <a:off x="826482" y="644779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@toddlittle @spoonstein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93E0B22-1E7C-984F-8488-F5BAD79FB335}"/>
              </a:ext>
            </a:extLst>
          </p:cNvPr>
          <p:cNvSpPr txBox="1">
            <a:spLocks/>
          </p:cNvSpPr>
          <p:nvPr userDrawn="1"/>
        </p:nvSpPr>
        <p:spPr>
          <a:xfrm>
            <a:off x="4026882" y="644779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pyright © Kanban University 2021</a:t>
            </a:r>
          </a:p>
        </p:txBody>
      </p:sp>
    </p:spTree>
    <p:extLst>
      <p:ext uri="{BB962C8B-B14F-4D97-AF65-F5344CB8AC3E}">
        <p14:creationId xmlns:p14="http://schemas.microsoft.com/office/powerpoint/2010/main" val="2008986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9DCDB09-1829-2D40-BEB0-C5441C39EE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7C268F-AC7E-EC4D-81F0-B2EACEC197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FE6FFD-9AAF-6B4E-8C45-B125A81D4B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66078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68D922-7DA7-A446-A5E3-BEDA8C197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66078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48A0D6-41C3-BA48-BE75-D83A778E4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36280" y="6466077"/>
            <a:ext cx="1722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92DDAE-9823-6946-874E-259A5CB945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01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  <p:sldLayoutId id="2147483663" r:id="rId14"/>
    <p:sldLayoutId id="2147483664" r:id="rId15"/>
    <p:sldLayoutId id="2147483662" r:id="rId16"/>
    <p:sldLayoutId id="214748366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17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16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microsoft.com/office/2007/relationships/hdphoto" Target="../media/hdphoto1.wdp"/><Relationship Id="rId4" Type="http://schemas.openxmlformats.org/officeDocument/2006/relationships/image" Target="../media/image24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8942CE-71E6-3B43-A368-44A1D0658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/>
              <a:t>The 8 D’s of Delay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D4E2978-EEB0-A744-BBBB-A75A85B29C96}"/>
              </a:ext>
            </a:extLst>
          </p:cNvPr>
          <p:cNvSpPr txBox="1">
            <a:spLocks/>
          </p:cNvSpPr>
          <p:nvPr/>
        </p:nvSpPr>
        <p:spPr>
          <a:xfrm>
            <a:off x="7191375" y="3059434"/>
            <a:ext cx="4162425" cy="15113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b="1">
                <a:solidFill>
                  <a:schemeClr val="bg1"/>
                </a:solidFill>
              </a:rPr>
              <a:t>Todd Little</a:t>
            </a:r>
          </a:p>
          <a:p>
            <a:pPr marL="0" indent="0" algn="r">
              <a:buNone/>
            </a:pPr>
            <a:r>
              <a:rPr lang="en-US" sz="2000">
                <a:solidFill>
                  <a:schemeClr val="bg1"/>
                </a:solidFill>
              </a:rPr>
              <a:t>Chairman </a:t>
            </a:r>
          </a:p>
          <a:p>
            <a:pPr marL="0" indent="0" algn="r">
              <a:buNone/>
            </a:pPr>
            <a:r>
              <a:rPr lang="en-US" sz="2000">
                <a:solidFill>
                  <a:schemeClr val="bg1"/>
                </a:solidFill>
              </a:rPr>
              <a:t>Kanban University</a:t>
            </a:r>
          </a:p>
          <a:p>
            <a:pPr marL="0" indent="0" algn="r">
              <a:buNone/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B086B7DC-121E-A244-9EE5-5554CE945D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052"/>
            <a:ext cx="2005787" cy="1941909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A6ED52D-0A2B-7C42-93E3-66D3ABB586D5}"/>
              </a:ext>
            </a:extLst>
          </p:cNvPr>
          <p:cNvSpPr txBox="1">
            <a:spLocks/>
          </p:cNvSpPr>
          <p:nvPr/>
        </p:nvSpPr>
        <p:spPr>
          <a:xfrm>
            <a:off x="5751818" y="4638104"/>
            <a:ext cx="5601984" cy="151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rgbClr val="F0A000"/>
              </a:buClr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Clr>
                <a:srgbClr val="0070C0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501AB0-D786-4BDD-8C57-0102F7B7BA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1532" b="772"/>
          <a:stretch/>
        </p:blipFill>
        <p:spPr>
          <a:xfrm>
            <a:off x="6508351" y="1440878"/>
            <a:ext cx="2364844" cy="238622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094EAB4-5188-453D-B709-B4022F0F3E8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42738"/>
              </a:clrFrom>
              <a:clrTo>
                <a:srgbClr val="04273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117053" y="0"/>
            <a:ext cx="1453868" cy="294640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34248A5-831A-44E5-A6B7-23DB208B827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clrChange>
              <a:clrFrom>
                <a:srgbClr val="52C9FF"/>
              </a:clrFrom>
              <a:clrTo>
                <a:srgbClr val="52C9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1496" b="1231"/>
          <a:stretch/>
        </p:blipFill>
        <p:spPr>
          <a:xfrm>
            <a:off x="3595508" y="96561"/>
            <a:ext cx="2721316" cy="3291408"/>
          </a:xfrm>
          <a:prstGeom prst="rect">
            <a:avLst/>
          </a:prstGeom>
        </p:spPr>
      </p:pic>
      <p:pic>
        <p:nvPicPr>
          <p:cNvPr id="21" name="Picture 20" descr="A busy street full of traffic&#10;&#10;Description automatically generated with low confidence">
            <a:extLst>
              <a:ext uri="{FF2B5EF4-FFF2-40B4-BE49-F238E27FC236}">
                <a16:creationId xmlns:a16="http://schemas.microsoft.com/office/drawing/2014/main" id="{EA9E2D71-C180-4BBD-8642-D34B9A97DCA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3945" y="4021970"/>
            <a:ext cx="3941822" cy="221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4013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2C4FE-D2DA-434D-B227-08188CA62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 of Delay</a:t>
            </a:r>
          </a:p>
        </p:txBody>
      </p:sp>
    </p:spTree>
    <p:extLst>
      <p:ext uri="{BB962C8B-B14F-4D97-AF65-F5344CB8AC3E}">
        <p14:creationId xmlns:p14="http://schemas.microsoft.com/office/powerpoint/2010/main" val="36414397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E8FBC5-97F1-8949-8685-6C2226A8F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Variation: “Lack of consistency or fixed pattern”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39B849D-5BDD-B34F-A6EA-7BC96760B3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/>
              <a:t>Common Cause </a:t>
            </a:r>
            <a:r>
              <a:rPr lang="en-US" b="0"/>
              <a:t>(“Chance Cause”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99FBE4E-5C52-3D4E-91EB-C6680C5C413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Expected or unsurprising</a:t>
            </a:r>
          </a:p>
          <a:p>
            <a:r>
              <a:rPr lang="en-US"/>
              <a:t>Inside of typical system parameters, “The noise within the system”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A3825B4-5B65-234A-8AE9-43FC166EFC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>
            <a:normAutofit fontScale="92500"/>
          </a:bodyPr>
          <a:lstStyle/>
          <a:p>
            <a:r>
              <a:rPr lang="en-US"/>
              <a:t>Special Cause </a:t>
            </a:r>
            <a:r>
              <a:rPr lang="en-US" b="0"/>
              <a:t>(“Assignable Cause”)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08B2BB0-95F5-7C4A-A34F-963E77619D42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r>
              <a:rPr lang="en-US" sz="2600"/>
              <a:t>Unexpected and unpredictable</a:t>
            </a:r>
          </a:p>
          <a:p>
            <a:r>
              <a:rPr lang="en-US" sz="2600"/>
              <a:t>Possible but outside of system control</a:t>
            </a:r>
          </a:p>
        </p:txBody>
      </p:sp>
      <p:pic>
        <p:nvPicPr>
          <p:cNvPr id="4" name="Grafik 17">
            <a:extLst>
              <a:ext uri="{FF2B5EF4-FFF2-40B4-BE49-F238E27FC236}">
                <a16:creationId xmlns:a16="http://schemas.microsoft.com/office/drawing/2014/main" id="{D8DB977A-819C-174D-967E-D355F826171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785" y="4041775"/>
            <a:ext cx="5184775" cy="2178469"/>
          </a:xfrm>
          <a:prstGeom prst="rect">
            <a:avLst/>
          </a:prstGeom>
        </p:spPr>
      </p:pic>
      <p:pic>
        <p:nvPicPr>
          <p:cNvPr id="5" name="Grafik 14">
            <a:extLst>
              <a:ext uri="{FF2B5EF4-FFF2-40B4-BE49-F238E27FC236}">
                <a16:creationId xmlns:a16="http://schemas.microsoft.com/office/drawing/2014/main" id="{7F9368B3-E9B5-CA4D-8B25-F3B61C5ADCE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7441" y="4041774"/>
            <a:ext cx="5184772" cy="215900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70500B-FF6C-2A4F-BA2D-D4471F153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43FC987-B11F-5948-A731-CD02490F71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1784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04DF74-31B5-49D0-BCEC-72355AFF7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805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ources of delay in Bangalore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52B479EF-E825-4C0B-BA87-A9AF4A8C6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57188" y="1845426"/>
            <a:ext cx="9674570" cy="445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72631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2C4FE-D2DA-434D-B227-08188CA62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8 D’s of Delay</a:t>
            </a:r>
          </a:p>
        </p:txBody>
      </p:sp>
    </p:spTree>
    <p:extLst>
      <p:ext uri="{BB962C8B-B14F-4D97-AF65-F5344CB8AC3E}">
        <p14:creationId xmlns:p14="http://schemas.microsoft.com/office/powerpoint/2010/main" val="23821537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 Service-Oriented Kanban Boar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71" name="Group 70">
            <a:extLst>
              <a:ext uri="{FF2B5EF4-FFF2-40B4-BE49-F238E27FC236}">
                <a16:creationId xmlns:a16="http://schemas.microsoft.com/office/drawing/2014/main" id="{53439C22-2859-2340-BA63-6374D3265947}"/>
              </a:ext>
            </a:extLst>
          </p:cNvPr>
          <p:cNvGrpSpPr/>
          <p:nvPr/>
        </p:nvGrpSpPr>
        <p:grpSpPr>
          <a:xfrm>
            <a:off x="1510886" y="5472409"/>
            <a:ext cx="1188000" cy="792000"/>
            <a:chOff x="1561125" y="5497468"/>
            <a:chExt cx="1188000" cy="792000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8C72B15B-DE0A-8F43-8AC6-057340DB223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1125" y="5497468"/>
              <a:ext cx="1188000" cy="792000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BD40AE60-F7A7-5B4B-9841-A522D721BF3F}"/>
                </a:ext>
              </a:extLst>
            </p:cNvPr>
            <p:cNvSpPr txBox="1"/>
            <p:nvPr/>
          </p:nvSpPr>
          <p:spPr>
            <a:xfrm>
              <a:off x="1561125" y="5497468"/>
              <a:ext cx="9720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/>
                <a:t>Policies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A21C607-2331-A24E-AFF5-F8B9DC9C815D}"/>
              </a:ext>
            </a:extLst>
          </p:cNvPr>
          <p:cNvGrpSpPr/>
          <p:nvPr/>
        </p:nvGrpSpPr>
        <p:grpSpPr>
          <a:xfrm>
            <a:off x="4187920" y="5475845"/>
            <a:ext cx="1188000" cy="792000"/>
            <a:chOff x="1561125" y="5497468"/>
            <a:chExt cx="1188000" cy="792000"/>
          </a:xfrm>
        </p:grpSpPr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C91F78ED-325E-8340-B220-232577CF2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1125" y="5497468"/>
              <a:ext cx="1188000" cy="792000"/>
            </a:xfrm>
            <a:prstGeom prst="rect">
              <a:avLst/>
            </a:prstGeom>
          </p:spPr>
        </p:pic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BEB7E9D-5EF3-0644-9F7F-68A251A0AD3F}"/>
                </a:ext>
              </a:extLst>
            </p:cNvPr>
            <p:cNvSpPr txBox="1"/>
            <p:nvPr/>
          </p:nvSpPr>
          <p:spPr>
            <a:xfrm>
              <a:off x="1561125" y="5497468"/>
              <a:ext cx="9720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/>
                <a:t>Policies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FF9C22B-6C0C-B443-B5DA-067A6D22CD75}"/>
              </a:ext>
            </a:extLst>
          </p:cNvPr>
          <p:cNvGrpSpPr/>
          <p:nvPr/>
        </p:nvGrpSpPr>
        <p:grpSpPr>
          <a:xfrm>
            <a:off x="5988120" y="5472409"/>
            <a:ext cx="1188000" cy="792000"/>
            <a:chOff x="1561125" y="5497468"/>
            <a:chExt cx="1188000" cy="792000"/>
          </a:xfrm>
        </p:grpSpPr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45127FFD-C123-3142-B405-C112ECE8F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1125" y="5497468"/>
              <a:ext cx="1188000" cy="792000"/>
            </a:xfrm>
            <a:prstGeom prst="rect">
              <a:avLst/>
            </a:prstGeom>
          </p:spPr>
        </p:pic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55F4823E-E74C-AB48-BD42-6CA7079EE746}"/>
                </a:ext>
              </a:extLst>
            </p:cNvPr>
            <p:cNvSpPr txBox="1"/>
            <p:nvPr/>
          </p:nvSpPr>
          <p:spPr>
            <a:xfrm>
              <a:off x="1561125" y="5497468"/>
              <a:ext cx="9720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/>
                <a:t>Policies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95CC74B3-7E76-7240-A0AC-804DBBAC2024}"/>
              </a:ext>
            </a:extLst>
          </p:cNvPr>
          <p:cNvGrpSpPr/>
          <p:nvPr/>
        </p:nvGrpSpPr>
        <p:grpSpPr>
          <a:xfrm>
            <a:off x="8688288" y="5466593"/>
            <a:ext cx="1188000" cy="792000"/>
            <a:chOff x="1561125" y="5497468"/>
            <a:chExt cx="1188000" cy="792000"/>
          </a:xfrm>
        </p:grpSpPr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6272DAA0-1CA9-3946-AD2F-FA5A5806A5E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1125" y="5497468"/>
              <a:ext cx="1188000" cy="792000"/>
            </a:xfrm>
            <a:prstGeom prst="rect">
              <a:avLst/>
            </a:prstGeom>
          </p:spPr>
        </p:pic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C6FFC0D-52E2-E643-BF19-DD33B01AE0B5}"/>
                </a:ext>
              </a:extLst>
            </p:cNvPr>
            <p:cNvSpPr txBox="1"/>
            <p:nvPr/>
          </p:nvSpPr>
          <p:spPr>
            <a:xfrm>
              <a:off x="1561125" y="5497468"/>
              <a:ext cx="9720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/>
                <a:t>Policies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  <a:p>
              <a:pPr marL="105750" indent="-285750">
                <a:buFont typeface="Apple Symbols" panose="02000000000000000000" pitchFamily="2" charset="-79"/>
                <a:buChar char="☑"/>
              </a:pPr>
              <a:r>
                <a:rPr lang="en-US" sz="1000"/>
                <a:t>…</a:t>
              </a:r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8224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#1: Dawdle (wait in queue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5</a:t>
            </a:fld>
            <a:endParaRPr lang="en-US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0717FC29-7176-4FF4-96D8-5156DF7A8F5C}"/>
              </a:ext>
            </a:extLst>
          </p:cNvPr>
          <p:cNvSpPr/>
          <p:nvPr/>
        </p:nvSpPr>
        <p:spPr>
          <a:xfrm flipV="1">
            <a:off x="2423592" y="5497648"/>
            <a:ext cx="252000" cy="711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Arrow: Down 55">
            <a:extLst>
              <a:ext uri="{FF2B5EF4-FFF2-40B4-BE49-F238E27FC236}">
                <a16:creationId xmlns:a16="http://schemas.microsoft.com/office/drawing/2014/main" id="{0D0B32CC-39C5-4548-A743-76BDB558FA6B}"/>
              </a:ext>
            </a:extLst>
          </p:cNvPr>
          <p:cNvSpPr/>
          <p:nvPr/>
        </p:nvSpPr>
        <p:spPr>
          <a:xfrm flipV="1">
            <a:off x="4250684" y="5497648"/>
            <a:ext cx="252000" cy="711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Arrow: Down 60">
            <a:extLst>
              <a:ext uri="{FF2B5EF4-FFF2-40B4-BE49-F238E27FC236}">
                <a16:creationId xmlns:a16="http://schemas.microsoft.com/office/drawing/2014/main" id="{8417AFB0-CB01-4597-9F40-D22DF838F120}"/>
              </a:ext>
            </a:extLst>
          </p:cNvPr>
          <p:cNvSpPr/>
          <p:nvPr/>
        </p:nvSpPr>
        <p:spPr>
          <a:xfrm flipV="1">
            <a:off x="5970000" y="5497648"/>
            <a:ext cx="252000" cy="711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Arrow: Down 64">
            <a:extLst>
              <a:ext uri="{FF2B5EF4-FFF2-40B4-BE49-F238E27FC236}">
                <a16:creationId xmlns:a16="http://schemas.microsoft.com/office/drawing/2014/main" id="{D9FD7810-CBE3-4008-9F33-AC44438B64FA}"/>
              </a:ext>
            </a:extLst>
          </p:cNvPr>
          <p:cNvSpPr/>
          <p:nvPr/>
        </p:nvSpPr>
        <p:spPr>
          <a:xfrm flipV="1">
            <a:off x="7843622" y="5498864"/>
            <a:ext cx="252000" cy="711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549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#2: Defec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6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2F5603D-BC21-4898-8171-1B13A8BE8399}"/>
              </a:ext>
            </a:extLst>
          </p:cNvPr>
          <p:cNvGrpSpPr/>
          <p:nvPr/>
        </p:nvGrpSpPr>
        <p:grpSpPr>
          <a:xfrm>
            <a:off x="5257838" y="2776468"/>
            <a:ext cx="216416" cy="301651"/>
            <a:chOff x="5195312" y="3471917"/>
            <a:chExt cx="216416" cy="301651"/>
          </a:xfrm>
        </p:grpSpPr>
        <p:sp>
          <p:nvSpPr>
            <p:cNvPr id="11" name="Sun 10">
              <a:extLst>
                <a:ext uri="{FF2B5EF4-FFF2-40B4-BE49-F238E27FC236}">
                  <a16:creationId xmlns:a16="http://schemas.microsoft.com/office/drawing/2014/main" id="{B3992425-7441-4D7D-A94C-D5B6B2509F61}"/>
                </a:ext>
              </a:extLst>
            </p:cNvPr>
            <p:cNvSpPr/>
            <p:nvPr/>
          </p:nvSpPr>
          <p:spPr>
            <a:xfrm>
              <a:off x="5195312" y="3541253"/>
              <a:ext cx="216416" cy="232315"/>
            </a:xfrm>
            <a:prstGeom prst="sun">
              <a:avLst/>
            </a:prstGeom>
            <a:solidFill>
              <a:srgbClr val="6633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Smiley Face 12">
              <a:extLst>
                <a:ext uri="{FF2B5EF4-FFF2-40B4-BE49-F238E27FC236}">
                  <a16:creationId xmlns:a16="http://schemas.microsoft.com/office/drawing/2014/main" id="{B8DA2C1B-910D-419F-A9CA-667F2DD3AC9F}"/>
                </a:ext>
              </a:extLst>
            </p:cNvPr>
            <p:cNvSpPr/>
            <p:nvPr/>
          </p:nvSpPr>
          <p:spPr>
            <a:xfrm>
              <a:off x="5236479" y="3471917"/>
              <a:ext cx="134081" cy="118062"/>
            </a:xfrm>
            <a:prstGeom prst="smileyFace">
              <a:avLst/>
            </a:prstGeom>
            <a:solidFill>
              <a:srgbClr val="6633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2312718-F6F7-4EE9-AD4D-EAA1F1C0B2E9}"/>
              </a:ext>
            </a:extLst>
          </p:cNvPr>
          <p:cNvGrpSpPr/>
          <p:nvPr/>
        </p:nvGrpSpPr>
        <p:grpSpPr>
          <a:xfrm>
            <a:off x="5410238" y="2928868"/>
            <a:ext cx="216416" cy="301651"/>
            <a:chOff x="5195312" y="3471917"/>
            <a:chExt cx="216416" cy="301651"/>
          </a:xfrm>
        </p:grpSpPr>
        <p:sp>
          <p:nvSpPr>
            <p:cNvPr id="39" name="Sun 38">
              <a:extLst>
                <a:ext uri="{FF2B5EF4-FFF2-40B4-BE49-F238E27FC236}">
                  <a16:creationId xmlns:a16="http://schemas.microsoft.com/office/drawing/2014/main" id="{896F8F0B-E3DC-4C1E-8FFC-12F3F0998A63}"/>
                </a:ext>
              </a:extLst>
            </p:cNvPr>
            <p:cNvSpPr/>
            <p:nvPr/>
          </p:nvSpPr>
          <p:spPr>
            <a:xfrm>
              <a:off x="5195312" y="3541253"/>
              <a:ext cx="216416" cy="232315"/>
            </a:xfrm>
            <a:prstGeom prst="sun">
              <a:avLst/>
            </a:prstGeom>
            <a:solidFill>
              <a:srgbClr val="6633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Smiley Face 39">
              <a:extLst>
                <a:ext uri="{FF2B5EF4-FFF2-40B4-BE49-F238E27FC236}">
                  <a16:creationId xmlns:a16="http://schemas.microsoft.com/office/drawing/2014/main" id="{A4E83268-FEAE-46CE-AB94-040835DA9A20}"/>
                </a:ext>
              </a:extLst>
            </p:cNvPr>
            <p:cNvSpPr/>
            <p:nvPr/>
          </p:nvSpPr>
          <p:spPr>
            <a:xfrm>
              <a:off x="5236479" y="3471917"/>
              <a:ext cx="134081" cy="118062"/>
            </a:xfrm>
            <a:prstGeom prst="smileyFace">
              <a:avLst/>
            </a:prstGeom>
            <a:solidFill>
              <a:srgbClr val="6633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6838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3: Discovery/Difficulty</a:t>
            </a:r>
            <a:br>
              <a:rPr lang="en-US"/>
            </a:br>
            <a:r>
              <a:rPr lang="en-US"/>
              <a:t>(bigger/harder than we though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7</a:t>
            </a:fld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376B7C2-90FB-45CA-8AD6-DF76B896D4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5518" y="2656488"/>
            <a:ext cx="1300482" cy="86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917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4: Distraction (multitasking) </a:t>
            </a:r>
            <a:br>
              <a:rPr lang="en-US"/>
            </a:br>
            <a:r>
              <a:rPr lang="en-US"/>
              <a:t>(see also </a:t>
            </a:r>
            <a:r>
              <a:rPr lang="en-US" err="1"/>
              <a:t>Deprioritization</a:t>
            </a:r>
            <a:r>
              <a:rPr lang="en-US"/>
              <a:t>, Dilly-Dall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8</a:t>
            </a:fld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C65AF40-196B-42F7-A590-8870AB06554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977" y="3572491"/>
            <a:ext cx="720000" cy="480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A02B8CD-E804-4CD4-8E89-00CFF0B345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0108" y="2678395"/>
            <a:ext cx="72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034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#5: Dependenc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9</a:t>
            </a:fld>
            <a:endParaRPr lang="en-US"/>
          </a:p>
        </p:txBody>
      </p:sp>
      <p:sp>
        <p:nvSpPr>
          <p:cNvPr id="11" name="Cross 10">
            <a:extLst>
              <a:ext uri="{FF2B5EF4-FFF2-40B4-BE49-F238E27FC236}">
                <a16:creationId xmlns:a16="http://schemas.microsoft.com/office/drawing/2014/main" id="{D121B384-14DA-4476-AAFD-F2BC7DCECCD5}"/>
              </a:ext>
            </a:extLst>
          </p:cNvPr>
          <p:cNvSpPr/>
          <p:nvPr/>
        </p:nvSpPr>
        <p:spPr>
          <a:xfrm>
            <a:off x="5267881" y="2880352"/>
            <a:ext cx="252055" cy="221100"/>
          </a:xfrm>
          <a:prstGeom prst="plus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319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52" name="Rectangle 70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04DF74-31B5-49D0-BCEC-72355AFF7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805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un with Uber in Bangalor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63F5B5C-D1E2-4C4F-BFD6-CD9EFEC99B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57188" y="1845426"/>
            <a:ext cx="9674570" cy="445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Map&#10;&#10;Description automatically generated">
            <a:extLst>
              <a:ext uri="{FF2B5EF4-FFF2-40B4-BE49-F238E27FC236}">
                <a16:creationId xmlns:a16="http://schemas.microsoft.com/office/drawing/2014/main" id="{67C8471C-1D78-4CB6-B1B0-2C7496EBA9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57316" y="1845426"/>
            <a:ext cx="1140989" cy="2994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74617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6: Decisions</a:t>
            </a:r>
            <a:br>
              <a:rPr lang="en-US"/>
            </a:b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3973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0</a:t>
            </a:fld>
            <a:endParaRPr lang="en-US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A02B8CD-E804-4CD4-8E89-00CFF0B345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2311"/>
            <a:ext cx="720000" cy="480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CB68C4C-4BB6-44FE-9031-9A8F98CD28AF}"/>
              </a:ext>
            </a:extLst>
          </p:cNvPr>
          <p:cNvGrpSpPr/>
          <p:nvPr/>
        </p:nvGrpSpPr>
        <p:grpSpPr>
          <a:xfrm>
            <a:off x="5776525" y="2633199"/>
            <a:ext cx="720000" cy="480000"/>
            <a:chOff x="5776525" y="2633199"/>
            <a:chExt cx="720000" cy="480000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DAC0B2A-6A83-4333-9BF1-375460093E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6525" y="2633199"/>
              <a:ext cx="720000" cy="4800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8731CEB-5A4A-482F-B69B-391B2B1AC6A5}"/>
                </a:ext>
              </a:extLst>
            </p:cNvPr>
            <p:cNvSpPr txBox="1"/>
            <p:nvPr/>
          </p:nvSpPr>
          <p:spPr>
            <a:xfrm>
              <a:off x="5777643" y="2669750"/>
              <a:ext cx="656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A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C8F3E89-796A-4CC2-A326-FFBD56A07631}"/>
              </a:ext>
            </a:extLst>
          </p:cNvPr>
          <p:cNvGrpSpPr/>
          <p:nvPr/>
        </p:nvGrpSpPr>
        <p:grpSpPr>
          <a:xfrm>
            <a:off x="5776525" y="3177414"/>
            <a:ext cx="720000" cy="480000"/>
            <a:chOff x="5776525" y="3177414"/>
            <a:chExt cx="720000" cy="48000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C65AF40-196B-42F7-A590-8870AB065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6525" y="3177414"/>
              <a:ext cx="720000" cy="48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27AE59-D305-4435-8790-BA883D4CFBB4}"/>
                </a:ext>
              </a:extLst>
            </p:cNvPr>
            <p:cNvSpPr txBox="1"/>
            <p:nvPr/>
          </p:nvSpPr>
          <p:spPr>
            <a:xfrm>
              <a:off x="5777642" y="3196899"/>
              <a:ext cx="656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B</a:t>
              </a:r>
            </a:p>
          </p:txBody>
        </p:sp>
      </p:grpSp>
      <p:sp>
        <p:nvSpPr>
          <p:cNvPr id="9" name="Arrow: Left-Up 8">
            <a:extLst>
              <a:ext uri="{FF2B5EF4-FFF2-40B4-BE49-F238E27FC236}">
                <a16:creationId xmlns:a16="http://schemas.microsoft.com/office/drawing/2014/main" id="{3EF15BFB-F464-43DC-A046-31048F213B2E}"/>
              </a:ext>
            </a:extLst>
          </p:cNvPr>
          <p:cNvSpPr/>
          <p:nvPr/>
        </p:nvSpPr>
        <p:spPr>
          <a:xfrm rot="8206334">
            <a:off x="5422900" y="2873199"/>
            <a:ext cx="564936" cy="569112"/>
          </a:xfrm>
          <a:prstGeom prst="lef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244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4108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#7: Departures</a:t>
            </a:r>
            <a:br>
              <a:rPr lang="en-US" dirty="0"/>
            </a:br>
            <a:r>
              <a:rPr lang="en-US" sz="3600" dirty="0"/>
              <a:t>Temporary – vacation, sick</a:t>
            </a:r>
            <a:br>
              <a:rPr lang="en-US" sz="3600" dirty="0"/>
            </a:br>
            <a:r>
              <a:rPr lang="en-US" sz="3600" dirty="0"/>
              <a:t>Longer term – resig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3973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96719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4108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#7: Departures</a:t>
            </a:r>
            <a:br>
              <a:rPr lang="en-US" dirty="0"/>
            </a:br>
            <a:r>
              <a:rPr lang="en-US" sz="3600" dirty="0"/>
              <a:t>Temporary – vacation, sick</a:t>
            </a:r>
            <a:br>
              <a:rPr lang="en-US" sz="3600" dirty="0"/>
            </a:br>
            <a:r>
              <a:rPr lang="en-US" sz="3600" dirty="0"/>
              <a:t>Longer term – resig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3973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2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9341B7-E179-4EB6-AC07-63709E4B320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03" y="2516378"/>
            <a:ext cx="1611172" cy="1488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3990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87 0.00648 L -0.00287 0.00648 C 0.00404 -0.0199 0.00924 -0.04768 0.01784 -0.07222 C 0.03958 -0.13495 0.06094 -0.19236 0.09466 -0.23449 C 0.10417 -0.24652 0.11497 -0.25416 0.12539 -0.26342 C 0.12825 -0.26597 0.13151 -0.26759 0.13437 -0.2699 C 0.13984 -0.27407 0.14518 -0.27893 0.15065 -0.28264 C 0.15547 -0.28588 0.16523 -0.28912 0.17057 -0.2956 C 0.17773 -0.30416 0.18607 -0.31088 0.19141 -0.32291 C 0.19349 -0.32777 0.1944 -0.33565 0.19766 -0.33727 L 0.23021 -0.35347 L 0.28633 -0.3581 " pathEditMode="relative" ptsTypes="AAAAAAAAAA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#8: Derailed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3</a:t>
            </a:fld>
            <a:endParaRPr lang="en-US"/>
          </a:p>
        </p:txBody>
      </p:sp>
      <p:sp>
        <p:nvSpPr>
          <p:cNvPr id="32" name="Hexagon 31">
            <a:extLst>
              <a:ext uri="{FF2B5EF4-FFF2-40B4-BE49-F238E27FC236}">
                <a16:creationId xmlns:a16="http://schemas.microsoft.com/office/drawing/2014/main" id="{3CB12585-EFBF-4AF7-BE8C-844C1CD4C915}"/>
              </a:ext>
            </a:extLst>
          </p:cNvPr>
          <p:cNvSpPr/>
          <p:nvPr/>
        </p:nvSpPr>
        <p:spPr>
          <a:xfrm>
            <a:off x="5628581" y="2795577"/>
            <a:ext cx="284996" cy="300895"/>
          </a:xfrm>
          <a:prstGeom prst="hexagon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25197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9DDA24-2B66-46AE-BADA-9B4BAD073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t Wait – Did anyone notice the 8d”S”</a:t>
            </a:r>
          </a:p>
        </p:txBody>
      </p:sp>
    </p:spTree>
    <p:extLst>
      <p:ext uri="{BB962C8B-B14F-4D97-AF65-F5344CB8AC3E}">
        <p14:creationId xmlns:p14="http://schemas.microsoft.com/office/powerpoint/2010/main" val="37908753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ope Creep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5</a:t>
            </a:fld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E5BC706-6072-4F7A-A592-9169803935D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0047" y="2832222"/>
            <a:ext cx="720000" cy="480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BB1C496-6548-4F98-96C6-3321BD6AEE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2447" y="2984622"/>
            <a:ext cx="72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371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098C9-540A-4E2E-ACBB-C89D328B7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d’s Fence Project During COVID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7F6D5E85-8F97-4DF5-9416-21F773BD8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 flipV="1">
            <a:off x="5002565" y="1690688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217637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2EE86-E220-4C7A-B779-B615F8AE3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9ACC899-BACD-43C4-8D18-5103D7026A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706442"/>
              </p:ext>
            </p:extLst>
          </p:nvPr>
        </p:nvGraphicFramePr>
        <p:xfrm>
          <a:off x="838199" y="2040672"/>
          <a:ext cx="9559640" cy="306168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955964">
                  <a:extLst>
                    <a:ext uri="{9D8B030D-6E8A-4147-A177-3AD203B41FA5}">
                      <a16:colId xmlns:a16="http://schemas.microsoft.com/office/drawing/2014/main" val="3488033493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661674935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726847306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191984758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772158279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3550548075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772248827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3932144067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345730548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097019093"/>
                    </a:ext>
                  </a:extLst>
                </a:gridCol>
              </a:tblGrid>
              <a:tr h="9311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Buy lumb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Collect tool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Remove Old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Remove nail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Dispose of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ove boards to saw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easure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Saw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ove Board to Fenc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Nail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027014202"/>
                  </a:ext>
                </a:extLst>
              </a:tr>
              <a:tr h="2130552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46920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20971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146B3DF3-4614-46A9-9E5E-D14431DCC6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3587F0-B572-4F9B-A005-650B0E30F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1588" y="662399"/>
            <a:ext cx="4460543" cy="1494000"/>
          </a:xfrm>
        </p:spPr>
        <p:txBody>
          <a:bodyPr anchor="t">
            <a:normAutofit/>
          </a:bodyPr>
          <a:lstStyle/>
          <a:p>
            <a:r>
              <a:rPr lang="en-US" dirty="0"/>
              <a:t>Lumber Storag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6AF5BED-1831-4A88-91BC-55D58BF9F2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885825" cy="6858000"/>
            <a:chOff x="0" y="0"/>
            <a:chExt cx="885825" cy="6858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44BD6EE-970C-4DF5-A508-F6127787CDD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0" y="0"/>
              <a:ext cx="885825" cy="6858000"/>
            </a:xfrm>
            <a:custGeom>
              <a:avLst/>
              <a:gdLst/>
              <a:ahLst/>
              <a:cxnLst/>
              <a:rect l="0" t="0" r="r" b="b"/>
              <a:pathLst>
                <a:path w="558" h="4320">
                  <a:moveTo>
                    <a:pt x="0" y="0"/>
                  </a:moveTo>
                  <a:lnTo>
                    <a:pt x="447" y="0"/>
                  </a:lnTo>
                  <a:lnTo>
                    <a:pt x="448" y="43"/>
                  </a:lnTo>
                  <a:lnTo>
                    <a:pt x="453" y="81"/>
                  </a:lnTo>
                  <a:lnTo>
                    <a:pt x="460" y="114"/>
                  </a:lnTo>
                  <a:lnTo>
                    <a:pt x="469" y="143"/>
                  </a:lnTo>
                  <a:lnTo>
                    <a:pt x="479" y="169"/>
                  </a:lnTo>
                  <a:lnTo>
                    <a:pt x="491" y="192"/>
                  </a:lnTo>
                  <a:lnTo>
                    <a:pt x="503" y="216"/>
                  </a:lnTo>
                  <a:lnTo>
                    <a:pt x="515" y="240"/>
                  </a:lnTo>
                  <a:lnTo>
                    <a:pt x="525" y="263"/>
                  </a:lnTo>
                  <a:lnTo>
                    <a:pt x="535" y="289"/>
                  </a:lnTo>
                  <a:lnTo>
                    <a:pt x="545" y="318"/>
                  </a:lnTo>
                  <a:lnTo>
                    <a:pt x="552" y="351"/>
                  </a:lnTo>
                  <a:lnTo>
                    <a:pt x="556" y="389"/>
                  </a:lnTo>
                  <a:lnTo>
                    <a:pt x="558" y="432"/>
                  </a:lnTo>
                  <a:lnTo>
                    <a:pt x="556" y="475"/>
                  </a:lnTo>
                  <a:lnTo>
                    <a:pt x="552" y="513"/>
                  </a:lnTo>
                  <a:lnTo>
                    <a:pt x="545" y="546"/>
                  </a:lnTo>
                  <a:lnTo>
                    <a:pt x="535" y="575"/>
                  </a:lnTo>
                  <a:lnTo>
                    <a:pt x="525" y="601"/>
                  </a:lnTo>
                  <a:lnTo>
                    <a:pt x="515" y="624"/>
                  </a:lnTo>
                  <a:lnTo>
                    <a:pt x="503" y="648"/>
                  </a:lnTo>
                  <a:lnTo>
                    <a:pt x="491" y="672"/>
                  </a:lnTo>
                  <a:lnTo>
                    <a:pt x="479" y="695"/>
                  </a:lnTo>
                  <a:lnTo>
                    <a:pt x="469" y="721"/>
                  </a:lnTo>
                  <a:lnTo>
                    <a:pt x="460" y="750"/>
                  </a:lnTo>
                  <a:lnTo>
                    <a:pt x="453" y="783"/>
                  </a:lnTo>
                  <a:lnTo>
                    <a:pt x="448" y="821"/>
                  </a:lnTo>
                  <a:lnTo>
                    <a:pt x="447" y="864"/>
                  </a:lnTo>
                  <a:lnTo>
                    <a:pt x="448" y="907"/>
                  </a:lnTo>
                  <a:lnTo>
                    <a:pt x="453" y="945"/>
                  </a:lnTo>
                  <a:lnTo>
                    <a:pt x="460" y="978"/>
                  </a:lnTo>
                  <a:lnTo>
                    <a:pt x="469" y="1007"/>
                  </a:lnTo>
                  <a:lnTo>
                    <a:pt x="479" y="1033"/>
                  </a:lnTo>
                  <a:lnTo>
                    <a:pt x="491" y="1056"/>
                  </a:lnTo>
                  <a:lnTo>
                    <a:pt x="503" y="1080"/>
                  </a:lnTo>
                  <a:lnTo>
                    <a:pt x="515" y="1104"/>
                  </a:lnTo>
                  <a:lnTo>
                    <a:pt x="525" y="1127"/>
                  </a:lnTo>
                  <a:lnTo>
                    <a:pt x="535" y="1153"/>
                  </a:lnTo>
                  <a:lnTo>
                    <a:pt x="545" y="1182"/>
                  </a:lnTo>
                  <a:lnTo>
                    <a:pt x="552" y="1215"/>
                  </a:lnTo>
                  <a:lnTo>
                    <a:pt x="556" y="1253"/>
                  </a:lnTo>
                  <a:lnTo>
                    <a:pt x="558" y="1296"/>
                  </a:lnTo>
                  <a:lnTo>
                    <a:pt x="556" y="1339"/>
                  </a:lnTo>
                  <a:lnTo>
                    <a:pt x="552" y="1377"/>
                  </a:lnTo>
                  <a:lnTo>
                    <a:pt x="545" y="1410"/>
                  </a:lnTo>
                  <a:lnTo>
                    <a:pt x="535" y="1439"/>
                  </a:lnTo>
                  <a:lnTo>
                    <a:pt x="525" y="1465"/>
                  </a:lnTo>
                  <a:lnTo>
                    <a:pt x="515" y="1488"/>
                  </a:lnTo>
                  <a:lnTo>
                    <a:pt x="503" y="1512"/>
                  </a:lnTo>
                  <a:lnTo>
                    <a:pt x="491" y="1536"/>
                  </a:lnTo>
                  <a:lnTo>
                    <a:pt x="479" y="1559"/>
                  </a:lnTo>
                  <a:lnTo>
                    <a:pt x="469" y="1585"/>
                  </a:lnTo>
                  <a:lnTo>
                    <a:pt x="460" y="1614"/>
                  </a:lnTo>
                  <a:lnTo>
                    <a:pt x="453" y="1647"/>
                  </a:lnTo>
                  <a:lnTo>
                    <a:pt x="448" y="1685"/>
                  </a:lnTo>
                  <a:lnTo>
                    <a:pt x="447" y="1728"/>
                  </a:lnTo>
                  <a:lnTo>
                    <a:pt x="448" y="1771"/>
                  </a:lnTo>
                  <a:lnTo>
                    <a:pt x="453" y="1809"/>
                  </a:lnTo>
                  <a:lnTo>
                    <a:pt x="460" y="1842"/>
                  </a:lnTo>
                  <a:lnTo>
                    <a:pt x="469" y="1871"/>
                  </a:lnTo>
                  <a:lnTo>
                    <a:pt x="479" y="1897"/>
                  </a:lnTo>
                  <a:lnTo>
                    <a:pt x="491" y="1920"/>
                  </a:lnTo>
                  <a:lnTo>
                    <a:pt x="503" y="1944"/>
                  </a:lnTo>
                  <a:lnTo>
                    <a:pt x="515" y="1968"/>
                  </a:lnTo>
                  <a:lnTo>
                    <a:pt x="525" y="1991"/>
                  </a:lnTo>
                  <a:lnTo>
                    <a:pt x="535" y="2017"/>
                  </a:lnTo>
                  <a:lnTo>
                    <a:pt x="545" y="2046"/>
                  </a:lnTo>
                  <a:lnTo>
                    <a:pt x="552" y="2079"/>
                  </a:lnTo>
                  <a:lnTo>
                    <a:pt x="556" y="2117"/>
                  </a:lnTo>
                  <a:lnTo>
                    <a:pt x="558" y="2159"/>
                  </a:lnTo>
                  <a:lnTo>
                    <a:pt x="556" y="2203"/>
                  </a:lnTo>
                  <a:lnTo>
                    <a:pt x="552" y="2241"/>
                  </a:lnTo>
                  <a:lnTo>
                    <a:pt x="545" y="2274"/>
                  </a:lnTo>
                  <a:lnTo>
                    <a:pt x="535" y="2303"/>
                  </a:lnTo>
                  <a:lnTo>
                    <a:pt x="525" y="2329"/>
                  </a:lnTo>
                  <a:lnTo>
                    <a:pt x="515" y="2352"/>
                  </a:lnTo>
                  <a:lnTo>
                    <a:pt x="503" y="2376"/>
                  </a:lnTo>
                  <a:lnTo>
                    <a:pt x="491" y="2400"/>
                  </a:lnTo>
                  <a:lnTo>
                    <a:pt x="479" y="2423"/>
                  </a:lnTo>
                  <a:lnTo>
                    <a:pt x="469" y="2449"/>
                  </a:lnTo>
                  <a:lnTo>
                    <a:pt x="460" y="2478"/>
                  </a:lnTo>
                  <a:lnTo>
                    <a:pt x="453" y="2511"/>
                  </a:lnTo>
                  <a:lnTo>
                    <a:pt x="448" y="2549"/>
                  </a:lnTo>
                  <a:lnTo>
                    <a:pt x="447" y="2592"/>
                  </a:lnTo>
                  <a:lnTo>
                    <a:pt x="448" y="2635"/>
                  </a:lnTo>
                  <a:lnTo>
                    <a:pt x="453" y="2673"/>
                  </a:lnTo>
                  <a:lnTo>
                    <a:pt x="460" y="2706"/>
                  </a:lnTo>
                  <a:lnTo>
                    <a:pt x="469" y="2735"/>
                  </a:lnTo>
                  <a:lnTo>
                    <a:pt x="479" y="2761"/>
                  </a:lnTo>
                  <a:lnTo>
                    <a:pt x="491" y="2784"/>
                  </a:lnTo>
                  <a:lnTo>
                    <a:pt x="515" y="2832"/>
                  </a:lnTo>
                  <a:lnTo>
                    <a:pt x="525" y="2855"/>
                  </a:lnTo>
                  <a:lnTo>
                    <a:pt x="535" y="2881"/>
                  </a:lnTo>
                  <a:lnTo>
                    <a:pt x="545" y="2910"/>
                  </a:lnTo>
                  <a:lnTo>
                    <a:pt x="552" y="2943"/>
                  </a:lnTo>
                  <a:lnTo>
                    <a:pt x="556" y="2981"/>
                  </a:lnTo>
                  <a:lnTo>
                    <a:pt x="558" y="3024"/>
                  </a:lnTo>
                  <a:lnTo>
                    <a:pt x="556" y="3067"/>
                  </a:lnTo>
                  <a:lnTo>
                    <a:pt x="552" y="3105"/>
                  </a:lnTo>
                  <a:lnTo>
                    <a:pt x="545" y="3138"/>
                  </a:lnTo>
                  <a:lnTo>
                    <a:pt x="535" y="3167"/>
                  </a:lnTo>
                  <a:lnTo>
                    <a:pt x="525" y="3193"/>
                  </a:lnTo>
                  <a:lnTo>
                    <a:pt x="515" y="3216"/>
                  </a:lnTo>
                  <a:lnTo>
                    <a:pt x="503" y="3240"/>
                  </a:lnTo>
                  <a:lnTo>
                    <a:pt x="491" y="3264"/>
                  </a:lnTo>
                  <a:lnTo>
                    <a:pt x="479" y="3287"/>
                  </a:lnTo>
                  <a:lnTo>
                    <a:pt x="469" y="3313"/>
                  </a:lnTo>
                  <a:lnTo>
                    <a:pt x="460" y="3342"/>
                  </a:lnTo>
                  <a:lnTo>
                    <a:pt x="453" y="3375"/>
                  </a:lnTo>
                  <a:lnTo>
                    <a:pt x="448" y="3413"/>
                  </a:lnTo>
                  <a:lnTo>
                    <a:pt x="447" y="3456"/>
                  </a:lnTo>
                  <a:lnTo>
                    <a:pt x="448" y="3499"/>
                  </a:lnTo>
                  <a:lnTo>
                    <a:pt x="453" y="3537"/>
                  </a:lnTo>
                  <a:lnTo>
                    <a:pt x="460" y="3570"/>
                  </a:lnTo>
                  <a:lnTo>
                    <a:pt x="469" y="3599"/>
                  </a:lnTo>
                  <a:lnTo>
                    <a:pt x="479" y="3625"/>
                  </a:lnTo>
                  <a:lnTo>
                    <a:pt x="491" y="3648"/>
                  </a:lnTo>
                  <a:lnTo>
                    <a:pt x="503" y="3672"/>
                  </a:lnTo>
                  <a:lnTo>
                    <a:pt x="515" y="3696"/>
                  </a:lnTo>
                  <a:lnTo>
                    <a:pt x="525" y="3719"/>
                  </a:lnTo>
                  <a:lnTo>
                    <a:pt x="535" y="3745"/>
                  </a:lnTo>
                  <a:lnTo>
                    <a:pt x="545" y="3774"/>
                  </a:lnTo>
                  <a:lnTo>
                    <a:pt x="552" y="3807"/>
                  </a:lnTo>
                  <a:lnTo>
                    <a:pt x="556" y="3845"/>
                  </a:lnTo>
                  <a:lnTo>
                    <a:pt x="558" y="3888"/>
                  </a:lnTo>
                  <a:lnTo>
                    <a:pt x="556" y="3931"/>
                  </a:lnTo>
                  <a:lnTo>
                    <a:pt x="552" y="3969"/>
                  </a:lnTo>
                  <a:lnTo>
                    <a:pt x="545" y="4002"/>
                  </a:lnTo>
                  <a:lnTo>
                    <a:pt x="535" y="4031"/>
                  </a:lnTo>
                  <a:lnTo>
                    <a:pt x="525" y="4057"/>
                  </a:lnTo>
                  <a:lnTo>
                    <a:pt x="515" y="4080"/>
                  </a:lnTo>
                  <a:lnTo>
                    <a:pt x="503" y="4104"/>
                  </a:lnTo>
                  <a:lnTo>
                    <a:pt x="491" y="4128"/>
                  </a:lnTo>
                  <a:lnTo>
                    <a:pt x="479" y="4151"/>
                  </a:lnTo>
                  <a:lnTo>
                    <a:pt x="469" y="4177"/>
                  </a:lnTo>
                  <a:lnTo>
                    <a:pt x="460" y="4206"/>
                  </a:lnTo>
                  <a:lnTo>
                    <a:pt x="453" y="4239"/>
                  </a:lnTo>
                  <a:lnTo>
                    <a:pt x="448" y="4277"/>
                  </a:lnTo>
                  <a:lnTo>
                    <a:pt x="447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0ECD73E-712E-4743-BE0D-7BDF10DABC9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0" y="0"/>
              <a:ext cx="885825" cy="6858000"/>
            </a:xfrm>
            <a:custGeom>
              <a:avLst/>
              <a:gdLst/>
              <a:ahLst/>
              <a:cxnLst/>
              <a:rect l="0" t="0" r="r" b="b"/>
              <a:pathLst>
                <a:path w="558" h="4320">
                  <a:moveTo>
                    <a:pt x="0" y="0"/>
                  </a:moveTo>
                  <a:lnTo>
                    <a:pt x="447" y="0"/>
                  </a:lnTo>
                  <a:lnTo>
                    <a:pt x="448" y="43"/>
                  </a:lnTo>
                  <a:lnTo>
                    <a:pt x="453" y="81"/>
                  </a:lnTo>
                  <a:lnTo>
                    <a:pt x="460" y="114"/>
                  </a:lnTo>
                  <a:lnTo>
                    <a:pt x="469" y="143"/>
                  </a:lnTo>
                  <a:lnTo>
                    <a:pt x="479" y="169"/>
                  </a:lnTo>
                  <a:lnTo>
                    <a:pt x="491" y="192"/>
                  </a:lnTo>
                  <a:lnTo>
                    <a:pt x="503" y="216"/>
                  </a:lnTo>
                  <a:lnTo>
                    <a:pt x="515" y="240"/>
                  </a:lnTo>
                  <a:lnTo>
                    <a:pt x="525" y="263"/>
                  </a:lnTo>
                  <a:lnTo>
                    <a:pt x="535" y="289"/>
                  </a:lnTo>
                  <a:lnTo>
                    <a:pt x="545" y="318"/>
                  </a:lnTo>
                  <a:lnTo>
                    <a:pt x="552" y="351"/>
                  </a:lnTo>
                  <a:lnTo>
                    <a:pt x="556" y="389"/>
                  </a:lnTo>
                  <a:lnTo>
                    <a:pt x="558" y="432"/>
                  </a:lnTo>
                  <a:lnTo>
                    <a:pt x="556" y="475"/>
                  </a:lnTo>
                  <a:lnTo>
                    <a:pt x="552" y="513"/>
                  </a:lnTo>
                  <a:lnTo>
                    <a:pt x="545" y="546"/>
                  </a:lnTo>
                  <a:lnTo>
                    <a:pt x="535" y="575"/>
                  </a:lnTo>
                  <a:lnTo>
                    <a:pt x="525" y="601"/>
                  </a:lnTo>
                  <a:lnTo>
                    <a:pt x="515" y="624"/>
                  </a:lnTo>
                  <a:lnTo>
                    <a:pt x="503" y="648"/>
                  </a:lnTo>
                  <a:lnTo>
                    <a:pt x="491" y="672"/>
                  </a:lnTo>
                  <a:lnTo>
                    <a:pt x="479" y="695"/>
                  </a:lnTo>
                  <a:lnTo>
                    <a:pt x="469" y="721"/>
                  </a:lnTo>
                  <a:lnTo>
                    <a:pt x="460" y="750"/>
                  </a:lnTo>
                  <a:lnTo>
                    <a:pt x="453" y="783"/>
                  </a:lnTo>
                  <a:lnTo>
                    <a:pt x="448" y="821"/>
                  </a:lnTo>
                  <a:lnTo>
                    <a:pt x="447" y="864"/>
                  </a:lnTo>
                  <a:lnTo>
                    <a:pt x="448" y="907"/>
                  </a:lnTo>
                  <a:lnTo>
                    <a:pt x="453" y="945"/>
                  </a:lnTo>
                  <a:lnTo>
                    <a:pt x="460" y="978"/>
                  </a:lnTo>
                  <a:lnTo>
                    <a:pt x="469" y="1007"/>
                  </a:lnTo>
                  <a:lnTo>
                    <a:pt x="479" y="1033"/>
                  </a:lnTo>
                  <a:lnTo>
                    <a:pt x="491" y="1056"/>
                  </a:lnTo>
                  <a:lnTo>
                    <a:pt x="503" y="1080"/>
                  </a:lnTo>
                  <a:lnTo>
                    <a:pt x="515" y="1104"/>
                  </a:lnTo>
                  <a:lnTo>
                    <a:pt x="525" y="1127"/>
                  </a:lnTo>
                  <a:lnTo>
                    <a:pt x="535" y="1153"/>
                  </a:lnTo>
                  <a:lnTo>
                    <a:pt x="545" y="1182"/>
                  </a:lnTo>
                  <a:lnTo>
                    <a:pt x="552" y="1215"/>
                  </a:lnTo>
                  <a:lnTo>
                    <a:pt x="556" y="1253"/>
                  </a:lnTo>
                  <a:lnTo>
                    <a:pt x="558" y="1296"/>
                  </a:lnTo>
                  <a:lnTo>
                    <a:pt x="556" y="1339"/>
                  </a:lnTo>
                  <a:lnTo>
                    <a:pt x="552" y="1377"/>
                  </a:lnTo>
                  <a:lnTo>
                    <a:pt x="545" y="1410"/>
                  </a:lnTo>
                  <a:lnTo>
                    <a:pt x="535" y="1439"/>
                  </a:lnTo>
                  <a:lnTo>
                    <a:pt x="525" y="1465"/>
                  </a:lnTo>
                  <a:lnTo>
                    <a:pt x="515" y="1488"/>
                  </a:lnTo>
                  <a:lnTo>
                    <a:pt x="503" y="1512"/>
                  </a:lnTo>
                  <a:lnTo>
                    <a:pt x="491" y="1536"/>
                  </a:lnTo>
                  <a:lnTo>
                    <a:pt x="479" y="1559"/>
                  </a:lnTo>
                  <a:lnTo>
                    <a:pt x="469" y="1585"/>
                  </a:lnTo>
                  <a:lnTo>
                    <a:pt x="460" y="1614"/>
                  </a:lnTo>
                  <a:lnTo>
                    <a:pt x="453" y="1647"/>
                  </a:lnTo>
                  <a:lnTo>
                    <a:pt x="448" y="1685"/>
                  </a:lnTo>
                  <a:lnTo>
                    <a:pt x="447" y="1728"/>
                  </a:lnTo>
                  <a:lnTo>
                    <a:pt x="448" y="1771"/>
                  </a:lnTo>
                  <a:lnTo>
                    <a:pt x="453" y="1809"/>
                  </a:lnTo>
                  <a:lnTo>
                    <a:pt x="460" y="1842"/>
                  </a:lnTo>
                  <a:lnTo>
                    <a:pt x="469" y="1871"/>
                  </a:lnTo>
                  <a:lnTo>
                    <a:pt x="479" y="1897"/>
                  </a:lnTo>
                  <a:lnTo>
                    <a:pt x="491" y="1920"/>
                  </a:lnTo>
                  <a:lnTo>
                    <a:pt x="503" y="1944"/>
                  </a:lnTo>
                  <a:lnTo>
                    <a:pt x="515" y="1968"/>
                  </a:lnTo>
                  <a:lnTo>
                    <a:pt x="525" y="1991"/>
                  </a:lnTo>
                  <a:lnTo>
                    <a:pt x="535" y="2017"/>
                  </a:lnTo>
                  <a:lnTo>
                    <a:pt x="545" y="2046"/>
                  </a:lnTo>
                  <a:lnTo>
                    <a:pt x="552" y="2079"/>
                  </a:lnTo>
                  <a:lnTo>
                    <a:pt x="556" y="2117"/>
                  </a:lnTo>
                  <a:lnTo>
                    <a:pt x="558" y="2159"/>
                  </a:lnTo>
                  <a:lnTo>
                    <a:pt x="556" y="2203"/>
                  </a:lnTo>
                  <a:lnTo>
                    <a:pt x="552" y="2241"/>
                  </a:lnTo>
                  <a:lnTo>
                    <a:pt x="545" y="2274"/>
                  </a:lnTo>
                  <a:lnTo>
                    <a:pt x="535" y="2303"/>
                  </a:lnTo>
                  <a:lnTo>
                    <a:pt x="525" y="2329"/>
                  </a:lnTo>
                  <a:lnTo>
                    <a:pt x="515" y="2352"/>
                  </a:lnTo>
                  <a:lnTo>
                    <a:pt x="503" y="2376"/>
                  </a:lnTo>
                  <a:lnTo>
                    <a:pt x="491" y="2400"/>
                  </a:lnTo>
                  <a:lnTo>
                    <a:pt x="479" y="2423"/>
                  </a:lnTo>
                  <a:lnTo>
                    <a:pt x="469" y="2449"/>
                  </a:lnTo>
                  <a:lnTo>
                    <a:pt x="460" y="2478"/>
                  </a:lnTo>
                  <a:lnTo>
                    <a:pt x="453" y="2511"/>
                  </a:lnTo>
                  <a:lnTo>
                    <a:pt x="448" y="2549"/>
                  </a:lnTo>
                  <a:lnTo>
                    <a:pt x="447" y="2592"/>
                  </a:lnTo>
                  <a:lnTo>
                    <a:pt x="448" y="2635"/>
                  </a:lnTo>
                  <a:lnTo>
                    <a:pt x="453" y="2673"/>
                  </a:lnTo>
                  <a:lnTo>
                    <a:pt x="460" y="2706"/>
                  </a:lnTo>
                  <a:lnTo>
                    <a:pt x="469" y="2735"/>
                  </a:lnTo>
                  <a:lnTo>
                    <a:pt x="479" y="2761"/>
                  </a:lnTo>
                  <a:lnTo>
                    <a:pt x="491" y="2784"/>
                  </a:lnTo>
                  <a:lnTo>
                    <a:pt x="515" y="2832"/>
                  </a:lnTo>
                  <a:lnTo>
                    <a:pt x="525" y="2855"/>
                  </a:lnTo>
                  <a:lnTo>
                    <a:pt x="535" y="2881"/>
                  </a:lnTo>
                  <a:lnTo>
                    <a:pt x="545" y="2910"/>
                  </a:lnTo>
                  <a:lnTo>
                    <a:pt x="552" y="2943"/>
                  </a:lnTo>
                  <a:lnTo>
                    <a:pt x="556" y="2981"/>
                  </a:lnTo>
                  <a:lnTo>
                    <a:pt x="558" y="3024"/>
                  </a:lnTo>
                  <a:lnTo>
                    <a:pt x="556" y="3067"/>
                  </a:lnTo>
                  <a:lnTo>
                    <a:pt x="552" y="3105"/>
                  </a:lnTo>
                  <a:lnTo>
                    <a:pt x="545" y="3138"/>
                  </a:lnTo>
                  <a:lnTo>
                    <a:pt x="535" y="3167"/>
                  </a:lnTo>
                  <a:lnTo>
                    <a:pt x="525" y="3193"/>
                  </a:lnTo>
                  <a:lnTo>
                    <a:pt x="515" y="3216"/>
                  </a:lnTo>
                  <a:lnTo>
                    <a:pt x="503" y="3240"/>
                  </a:lnTo>
                  <a:lnTo>
                    <a:pt x="491" y="3264"/>
                  </a:lnTo>
                  <a:lnTo>
                    <a:pt x="479" y="3287"/>
                  </a:lnTo>
                  <a:lnTo>
                    <a:pt x="469" y="3313"/>
                  </a:lnTo>
                  <a:lnTo>
                    <a:pt x="460" y="3342"/>
                  </a:lnTo>
                  <a:lnTo>
                    <a:pt x="453" y="3375"/>
                  </a:lnTo>
                  <a:lnTo>
                    <a:pt x="448" y="3413"/>
                  </a:lnTo>
                  <a:lnTo>
                    <a:pt x="447" y="3456"/>
                  </a:lnTo>
                  <a:lnTo>
                    <a:pt x="448" y="3499"/>
                  </a:lnTo>
                  <a:lnTo>
                    <a:pt x="453" y="3537"/>
                  </a:lnTo>
                  <a:lnTo>
                    <a:pt x="460" y="3570"/>
                  </a:lnTo>
                  <a:lnTo>
                    <a:pt x="469" y="3599"/>
                  </a:lnTo>
                  <a:lnTo>
                    <a:pt x="479" y="3625"/>
                  </a:lnTo>
                  <a:lnTo>
                    <a:pt x="491" y="3648"/>
                  </a:lnTo>
                  <a:lnTo>
                    <a:pt x="503" y="3672"/>
                  </a:lnTo>
                  <a:lnTo>
                    <a:pt x="515" y="3696"/>
                  </a:lnTo>
                  <a:lnTo>
                    <a:pt x="525" y="3719"/>
                  </a:lnTo>
                  <a:lnTo>
                    <a:pt x="535" y="3745"/>
                  </a:lnTo>
                  <a:lnTo>
                    <a:pt x="545" y="3774"/>
                  </a:lnTo>
                  <a:lnTo>
                    <a:pt x="552" y="3807"/>
                  </a:lnTo>
                  <a:lnTo>
                    <a:pt x="556" y="3845"/>
                  </a:lnTo>
                  <a:lnTo>
                    <a:pt x="558" y="3888"/>
                  </a:lnTo>
                  <a:lnTo>
                    <a:pt x="556" y="3931"/>
                  </a:lnTo>
                  <a:lnTo>
                    <a:pt x="552" y="3969"/>
                  </a:lnTo>
                  <a:lnTo>
                    <a:pt x="545" y="4002"/>
                  </a:lnTo>
                  <a:lnTo>
                    <a:pt x="535" y="4031"/>
                  </a:lnTo>
                  <a:lnTo>
                    <a:pt x="525" y="4057"/>
                  </a:lnTo>
                  <a:lnTo>
                    <a:pt x="515" y="4080"/>
                  </a:lnTo>
                  <a:lnTo>
                    <a:pt x="503" y="4104"/>
                  </a:lnTo>
                  <a:lnTo>
                    <a:pt x="491" y="4128"/>
                  </a:lnTo>
                  <a:lnTo>
                    <a:pt x="479" y="4151"/>
                  </a:lnTo>
                  <a:lnTo>
                    <a:pt x="469" y="4177"/>
                  </a:lnTo>
                  <a:lnTo>
                    <a:pt x="460" y="4206"/>
                  </a:lnTo>
                  <a:lnTo>
                    <a:pt x="453" y="4239"/>
                  </a:lnTo>
                  <a:lnTo>
                    <a:pt x="448" y="4277"/>
                  </a:lnTo>
                  <a:lnTo>
                    <a:pt x="447" y="4320"/>
                  </a:lnTo>
                  <a:lnTo>
                    <a:pt x="0" y="4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  <a:alpha val="2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A5666A-EF35-4D47-91B3-42FC30B2EC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1679" y="2286001"/>
            <a:ext cx="4475354" cy="3844800"/>
          </a:xfrm>
        </p:spPr>
        <p:txBody>
          <a:bodyPr>
            <a:normAutofit/>
          </a:bodyPr>
          <a:lstStyle/>
          <a:p>
            <a:endParaRPr lang="en-US" sz="2000">
              <a:solidFill>
                <a:schemeClr val="tx1">
                  <a:alpha val="60000"/>
                </a:schemeClr>
              </a:solidFill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CC30C37-F03B-45A8-8526-9F9AE4A5A1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5716096" y="382096"/>
            <a:ext cx="6858000" cy="609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59891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53C7A3E3-FA03-4029-B952-ABBC2800A7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V="1">
            <a:off x="2522356" y="10"/>
            <a:ext cx="9669642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FCCC44-419B-420C-A453-9F866C733F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3822189" cy="1899912"/>
          </a:xfrm>
        </p:spPr>
        <p:txBody>
          <a:bodyPr>
            <a:normAutofit/>
          </a:bodyPr>
          <a:lstStyle/>
          <a:p>
            <a:r>
              <a:rPr lang="en-US" sz="4000"/>
              <a:t>Saw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33F7DF-22F8-47D4-92A6-DF7CEF2571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434201"/>
            <a:ext cx="3822189" cy="3742762"/>
          </a:xfrm>
        </p:spPr>
        <p:txBody>
          <a:bodyPr>
            <a:normAutofit/>
          </a:bodyPr>
          <a:lstStyle/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832044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52" name="Rectangle 70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04DF74-31B5-49D0-BCEC-72355AFF7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4805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un with Uber in Bangalore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63F5B5C-D1E2-4C4F-BFD6-CD9EFEC99B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257188" y="1845426"/>
            <a:ext cx="9674570" cy="445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43901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00C8D-A7AF-425B-A7DC-0903755A46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posal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B2B83B74-8F8A-4E8A-ABE5-FCF8A7B0879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7269375" y="2262188"/>
            <a:ext cx="4572000" cy="3428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019AA232-9C33-48EE-9BF0-A33C8E521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6431" y="1690688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93251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2EE86-E220-4C7A-B779-B615F8AE3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 – Batch Sizes</a:t>
            </a:r>
          </a:p>
        </p:txBody>
      </p:sp>
      <p:sp>
        <p:nvSpPr>
          <p:cNvPr id="6" name="Right Brace 5">
            <a:extLst>
              <a:ext uri="{FF2B5EF4-FFF2-40B4-BE49-F238E27FC236}">
                <a16:creationId xmlns:a16="http://schemas.microsoft.com/office/drawing/2014/main" id="{117C8E60-4571-478C-A65E-EAD88293E632}"/>
              </a:ext>
            </a:extLst>
          </p:cNvPr>
          <p:cNvSpPr/>
          <p:nvPr/>
        </p:nvSpPr>
        <p:spPr>
          <a:xfrm rot="5400000">
            <a:off x="4914510" y="2452434"/>
            <a:ext cx="438912" cy="289942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7426B1-7A50-4EF8-BD4A-0B66F0A3E06F}"/>
              </a:ext>
            </a:extLst>
          </p:cNvPr>
          <p:cNvSpPr txBox="1"/>
          <p:nvPr/>
        </p:nvSpPr>
        <p:spPr>
          <a:xfrm>
            <a:off x="4649334" y="4155840"/>
            <a:ext cx="969264" cy="384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Varies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FBC438F-B64A-41C5-88DA-B3F1841197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2877567"/>
              </p:ext>
            </p:extLst>
          </p:nvPr>
        </p:nvGraphicFramePr>
        <p:xfrm>
          <a:off x="755073" y="2040672"/>
          <a:ext cx="10600485" cy="1633655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1040845">
                  <a:extLst>
                    <a:ext uri="{9D8B030D-6E8A-4147-A177-3AD203B41FA5}">
                      <a16:colId xmlns:a16="http://schemas.microsoft.com/office/drawing/2014/main" val="2432250865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3488033493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661674935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726847306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191984758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772158279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3550548075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772248827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3932144067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345730548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097019093"/>
                    </a:ext>
                  </a:extLst>
                </a:gridCol>
              </a:tblGrid>
              <a:tr h="931128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Buy lumb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Collect tool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Remove Old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Remove nail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Dispose of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ove boards to saw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easure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Saw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ove Board to Fenc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Nail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027014202"/>
                  </a:ext>
                </a:extLst>
              </a:tr>
              <a:tr h="70252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Batch Siz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9787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17786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42EE86-E220-4C7A-B779-B615F8AE3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low – Timing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9ACC899-BACD-43C4-8D18-5103D7026A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0154510"/>
              </p:ext>
            </p:extLst>
          </p:nvPr>
        </p:nvGraphicFramePr>
        <p:xfrm>
          <a:off x="755073" y="2040672"/>
          <a:ext cx="10600485" cy="3077227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1040845">
                  <a:extLst>
                    <a:ext uri="{9D8B030D-6E8A-4147-A177-3AD203B41FA5}">
                      <a16:colId xmlns:a16="http://schemas.microsoft.com/office/drawing/2014/main" val="2432250865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3488033493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661674935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726847306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191984758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772158279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3550548075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772248827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3932144067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2345730548"/>
                    </a:ext>
                  </a:extLst>
                </a:gridCol>
                <a:gridCol w="955964">
                  <a:extLst>
                    <a:ext uri="{9D8B030D-6E8A-4147-A177-3AD203B41FA5}">
                      <a16:colId xmlns:a16="http://schemas.microsoft.com/office/drawing/2014/main" val="1097019093"/>
                    </a:ext>
                  </a:extLst>
                </a:gridCol>
              </a:tblGrid>
              <a:tr h="931128"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Buy lumbe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Collect tool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Remove Old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Remove nail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Dispose of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ove boards to saw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easure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Saw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Move Board to Fenc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Nail Boar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027014202"/>
                  </a:ext>
                </a:extLst>
              </a:tr>
              <a:tr h="70252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Batch Siz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59787597"/>
                  </a:ext>
                </a:extLst>
              </a:tr>
              <a:tr h="70252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</a:rPr>
                        <a:t>Time (sec)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2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6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6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6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6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6920790"/>
                  </a:ext>
                </a:extLst>
              </a:tr>
              <a:tr h="70252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6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 for 20 Boards (sec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4594764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F6B17FE-C239-4419-87F9-6CDA87563477}"/>
              </a:ext>
            </a:extLst>
          </p:cNvPr>
          <p:cNvSpPr txBox="1"/>
          <p:nvPr/>
        </p:nvSpPr>
        <p:spPr>
          <a:xfrm>
            <a:off x="420624" y="5815584"/>
            <a:ext cx="71597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otal time for 20 Boards = 11880 Sec = 3:18 </a:t>
            </a:r>
            <a:r>
              <a:rPr lang="en-US" dirty="0" err="1"/>
              <a:t>h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2858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8FC9BE17-9A7B-462D-AE50-3D87773873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352C78F4-8CA6-490A-A374-653A80BA8C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 flipV="1">
            <a:off x="3523488" y="10"/>
            <a:ext cx="8668512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3EBE8569-6AEC-4B8C-8D53-2DE337CDBA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0"/>
            <a:ext cx="9756601" cy="68580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8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79A33E8-5FFD-498C-B669-4F09371CE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124712"/>
          </a:xfrm>
        </p:spPr>
        <p:txBody>
          <a:bodyPr anchor="b">
            <a:normAutofit/>
          </a:bodyPr>
          <a:lstStyle/>
          <a:p>
            <a:r>
              <a:rPr lang="en-US" sz="2800"/>
              <a:t>One section completed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5D4142C-5077-457F-A6AD-3FECFDB396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62559" y="605790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8244" y="2443480"/>
            <a:ext cx="3300984" cy="9144"/>
          </a:xfrm>
          <a:prstGeom prst="rect">
            <a:avLst/>
          </a:prstGeom>
          <a:solidFill>
            <a:srgbClr val="D5D5D5"/>
          </a:solidFill>
          <a:ln w="3175">
            <a:solidFill>
              <a:srgbClr val="D5D5D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437516-6BA1-4097-A481-15E7A3ED5A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094" y="2718054"/>
            <a:ext cx="3438906" cy="3207258"/>
          </a:xfrm>
        </p:spPr>
        <p:txBody>
          <a:bodyPr anchor="t">
            <a:normAutofit/>
          </a:bodyPr>
          <a:lstStyle/>
          <a:p>
            <a:endParaRPr lang="en-US" sz="1700"/>
          </a:p>
        </p:txBody>
      </p:sp>
    </p:spTree>
    <p:extLst>
      <p:ext uri="{BB962C8B-B14F-4D97-AF65-F5344CB8AC3E}">
        <p14:creationId xmlns:p14="http://schemas.microsoft.com/office/powerpoint/2010/main" val="21041075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C8013-4AE9-4325-8388-20226F5A0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Wait – What about Wa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58D10-81E8-4A23-9ECF-7ED0FDCD03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ctual total time to remove 20 boards and replace just 15 boards was 12600 sec vs. 8985 sec from the calculation.  Wait’s going on?</a:t>
            </a:r>
          </a:p>
        </p:txBody>
      </p:sp>
    </p:spTree>
    <p:extLst>
      <p:ext uri="{BB962C8B-B14F-4D97-AF65-F5344CB8AC3E}">
        <p14:creationId xmlns:p14="http://schemas.microsoft.com/office/powerpoint/2010/main" val="47712664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01E3D-34A5-4628-98E7-168F285628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ay – Need to dig ou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12C0CF-4D28-4697-83F9-46EE5022F3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F93D8FAC-9753-4D42-B6DE-F55FA748F9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574" y="2286000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>
            <a:extLst>
              <a:ext uri="{FF2B5EF4-FFF2-40B4-BE49-F238E27FC236}">
                <a16:creationId xmlns:a16="http://schemas.microsoft.com/office/drawing/2014/main" id="{48469CEB-1994-4D41-9996-B7A878644E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5864187" y="2286000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47259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01664-70F8-4524-9382-05D61DF123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lay – Dig out with bric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C1F1E-C990-4770-B844-FC4E50C6ED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C0630E3F-058A-49B8-B71A-FF89CBCA89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4690059" y="2011680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1479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3: Discovery/Difficulty</a:t>
            </a:r>
            <a:br>
              <a:rPr lang="en-US"/>
            </a:br>
            <a:r>
              <a:rPr lang="en-US"/>
              <a:t>(bigger/harder than we though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37</a:t>
            </a:fld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376B7C2-90FB-45CA-8AD6-DF76B896D4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5518" y="2656488"/>
            <a:ext cx="1300482" cy="86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35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1DD1A8A-57D5-4A81-AD04-532B043C5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outdoor, bench, building, house&#10;&#10;Description automatically generated">
            <a:extLst>
              <a:ext uri="{FF2B5EF4-FFF2-40B4-BE49-F238E27FC236}">
                <a16:creationId xmlns:a16="http://schemas.microsoft.com/office/drawing/2014/main" id="{81C9CD4D-B894-4A1F-AA43-846BFB2E4A6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63952" y="-2666999"/>
            <a:ext cx="6858000" cy="121919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07891EC-4501-44ED-A8C8-B11B6DB76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7602"/>
            <a:ext cx="12191999" cy="316214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25000">
                <a:srgbClr val="000000">
                  <a:alpha val="15000"/>
                </a:srgbClr>
              </a:gs>
              <a:gs pos="75000">
                <a:srgbClr val="000000">
                  <a:alpha val="15000"/>
                </a:srgbClr>
              </a:gs>
              <a:gs pos="50000">
                <a:srgbClr val="000000">
                  <a:alpha val="3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92C951-5B1F-4272-976A-9C33C43A3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325550"/>
            <a:ext cx="10058400" cy="357477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5200">
                <a:solidFill>
                  <a:srgbClr val="FFFFFF"/>
                </a:solidFill>
              </a:rPr>
              <a:t>I’m Working on my Fence – </a:t>
            </a:r>
            <a:br>
              <a:rPr lang="en-US" sz="5200">
                <a:solidFill>
                  <a:srgbClr val="FFFFFF"/>
                </a:solidFill>
              </a:rPr>
            </a:br>
            <a:r>
              <a:rPr lang="en-US" sz="5200">
                <a:solidFill>
                  <a:srgbClr val="FFFFFF"/>
                </a:solidFill>
              </a:rPr>
              <a:t>Wait might happen?</a:t>
            </a:r>
          </a:p>
        </p:txBody>
      </p:sp>
    </p:spTree>
    <p:extLst>
      <p:ext uri="{BB962C8B-B14F-4D97-AF65-F5344CB8AC3E}">
        <p14:creationId xmlns:p14="http://schemas.microsoft.com/office/powerpoint/2010/main" val="3975398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4: Distraction (multitasking) </a:t>
            </a:r>
            <a:br>
              <a:rPr lang="en-US"/>
            </a:br>
            <a:r>
              <a:rPr lang="en-US"/>
              <a:t>(see also </a:t>
            </a:r>
            <a:r>
              <a:rPr lang="en-US" err="1"/>
              <a:t>Deprioritization</a:t>
            </a:r>
            <a:r>
              <a:rPr lang="en-US"/>
              <a:t>, Dilly-Dall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39</a:t>
            </a:fld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C65AF40-196B-42F7-A590-8870AB06554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977" y="3572491"/>
            <a:ext cx="720000" cy="480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A02B8CD-E804-4CD4-8E89-00CFF0B345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0108" y="2678395"/>
            <a:ext cx="72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5198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&#10;&#10;Description automatically generated">
            <a:extLst>
              <a:ext uri="{FF2B5EF4-FFF2-40B4-BE49-F238E27FC236}">
                <a16:creationId xmlns:a16="http://schemas.microsoft.com/office/drawing/2014/main" id="{460CB46C-067E-4A8F-A634-BA89316A374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0" y="-1"/>
            <a:ext cx="12192000" cy="63563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9CD2FE5-B36D-41BA-884E-02B0385D2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2392DDAE-9823-6946-874E-259A5CB9452D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49485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C8013-4AE9-4325-8388-20226F5A0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t Wait – What about Wa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58D10-81E8-4A23-9ECF-7ED0FDCD03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ctual total time to remove 20 boards and replace just 15 boards was 12600 sec vs. 8985 sec from the calculation.  Wait’s going on?</a:t>
            </a:r>
          </a:p>
          <a:p>
            <a:endParaRPr lang="en-US" dirty="0"/>
          </a:p>
          <a:p>
            <a:r>
              <a:rPr lang="en-US" dirty="0"/>
              <a:t>Dig dirt away so that I can install new fence properly: 1800 sec</a:t>
            </a:r>
          </a:p>
          <a:p>
            <a:r>
              <a:rPr lang="en-US" dirty="0"/>
              <a:t>Chat with new neighbor: 1800 sec</a:t>
            </a:r>
          </a:p>
          <a:p>
            <a:endParaRPr lang="en-US" dirty="0"/>
          </a:p>
          <a:p>
            <a:r>
              <a:rPr lang="en-US" dirty="0"/>
              <a:t>Total time = 12585 sec vs. calculated 12600 sec.</a:t>
            </a:r>
          </a:p>
        </p:txBody>
      </p:sp>
    </p:spTree>
    <p:extLst>
      <p:ext uri="{BB962C8B-B14F-4D97-AF65-F5344CB8AC3E}">
        <p14:creationId xmlns:p14="http://schemas.microsoft.com/office/powerpoint/2010/main" val="141214693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132B94-C009-4804-8AD4-55DAEF716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y 2: Replace 5 boards 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1CD5650-1113-41FF-9D9F-414F06F68DCC}"/>
              </a:ext>
            </a:extLst>
          </p:cNvPr>
          <p:cNvGraphicFramePr>
            <a:graphicFrameLocks noGrp="1"/>
          </p:cNvGraphicFramePr>
          <p:nvPr/>
        </p:nvGraphicFramePr>
        <p:xfrm>
          <a:off x="1618488" y="2468880"/>
          <a:ext cx="8421624" cy="2231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0812">
                  <a:extLst>
                    <a:ext uri="{9D8B030D-6E8A-4147-A177-3AD203B41FA5}">
                      <a16:colId xmlns:a16="http://schemas.microsoft.com/office/drawing/2014/main" val="2962861899"/>
                    </a:ext>
                  </a:extLst>
                </a:gridCol>
                <a:gridCol w="4210812">
                  <a:extLst>
                    <a:ext uri="{9D8B030D-6E8A-4147-A177-3AD203B41FA5}">
                      <a16:colId xmlns:a16="http://schemas.microsoft.com/office/drawing/2014/main" val="3751180302"/>
                    </a:ext>
                  </a:extLst>
                </a:gridCol>
              </a:tblGrid>
              <a:tr h="743712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9444779"/>
                  </a:ext>
                </a:extLst>
              </a:tr>
              <a:tr h="74371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alculated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7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7638241"/>
                  </a:ext>
                </a:extLst>
              </a:tr>
              <a:tr h="743712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ctual ti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339948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05481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8C4C1-2C53-4FAF-ACDE-3DE5102A6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Batch:  Architecture Iss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D31A8F-2C7E-4966-AA28-49A8D9144D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CD28F95C-9829-4E6A-964F-DBC87318A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126905" y="2114802"/>
            <a:ext cx="5324860" cy="3993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90624ACF-B449-4264-973B-5CF03AE259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5555165" y="1825625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12282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05172-FFAF-462C-8DA6-CC658F55B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63445"/>
          </a:xfrm>
        </p:spPr>
        <p:txBody>
          <a:bodyPr/>
          <a:lstStyle/>
          <a:p>
            <a:r>
              <a:rPr lang="en-US" dirty="0"/>
              <a:t>Technical Deb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7AEF5F-EE0F-4988-B5B7-CD5FA9BB4A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2051" name="Picture 3">
            <a:extLst>
              <a:ext uri="{FF2B5EF4-FFF2-40B4-BE49-F238E27FC236}">
                <a16:creationId xmlns:a16="http://schemas.microsoft.com/office/drawing/2014/main" id="{4BB9BA30-AC61-4FEB-885C-6E9014CA5D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375827" y="842963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0F8ECB0D-6A61-49E3-BA4B-55596DFF6A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09801" y="1228570"/>
            <a:ext cx="4571999" cy="494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116635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3: Discovery/Difficulty</a:t>
            </a:r>
            <a:br>
              <a:rPr lang="en-US"/>
            </a:br>
            <a:r>
              <a:rPr lang="en-US"/>
              <a:t>(bigger/harder than we though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44</a:t>
            </a:fld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376B7C2-90FB-45CA-8AD6-DF76B896D4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5518" y="2656488"/>
            <a:ext cx="1300482" cy="86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41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420253-A95D-4BE8-9B44-C308EFA56D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urity Ho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4D631F-D5C8-4D53-B556-A3E3FF4D9F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194" name="Picture 2">
            <a:extLst>
              <a:ext uri="{FF2B5EF4-FFF2-40B4-BE49-F238E27FC236}">
                <a16:creationId xmlns:a16="http://schemas.microsoft.com/office/drawing/2014/main" id="{9592C465-ED34-4A84-AB2A-FA78D6616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V="1">
            <a:off x="930407" y="1920875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>
            <a:extLst>
              <a:ext uri="{FF2B5EF4-FFF2-40B4-BE49-F238E27FC236}">
                <a16:creationId xmlns:a16="http://schemas.microsoft.com/office/drawing/2014/main" id="{42808FDB-3651-4AE3-9D2D-ABBA47EA4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615716" y="1158875"/>
            <a:ext cx="609600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83994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ope Creep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46</a:t>
            </a:fld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E5BC706-6072-4F7A-A592-9169803935D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0047" y="2832222"/>
            <a:ext cx="720000" cy="480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BB1C496-6548-4F98-96C6-3321BD6AEE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2447" y="2984622"/>
            <a:ext cx="72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191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026A84AF-6F58-471A-BF1F-10D8C03511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3B061-D5DF-41F3-BC63-2665918C8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8662"/>
            <a:ext cx="3785513" cy="3728853"/>
          </a:xfrm>
          <a:noFill/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200" dirty="0"/>
              <a:t>Next phase </a:t>
            </a:r>
          </a:p>
        </p:txBody>
      </p:sp>
      <p:pic>
        <p:nvPicPr>
          <p:cNvPr id="4" name="Picture 3" descr="A picture containing outdoor, tree, bridge&#10;&#10;Description automatically generated">
            <a:extLst>
              <a:ext uri="{FF2B5EF4-FFF2-40B4-BE49-F238E27FC236}">
                <a16:creationId xmlns:a16="http://schemas.microsoft.com/office/drawing/2014/main" id="{E73075D3-55C2-4A43-A547-D7D26AE1A4A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009505" y="10"/>
            <a:ext cx="7182495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54802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picture containing outdoor, boat&#10;&#10;Description automatically generated">
            <a:extLst>
              <a:ext uri="{FF2B5EF4-FFF2-40B4-BE49-F238E27FC236}">
                <a16:creationId xmlns:a16="http://schemas.microsoft.com/office/drawing/2014/main" id="{20E223A9-5A04-4C3E-80C6-C7B5889579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20" y="10"/>
            <a:ext cx="12191980" cy="685799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20142"/>
            <a:ext cx="12192000" cy="736551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5AE1C8-3F44-472D-AE23-D5BBDB815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5317240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>
                <a:solidFill>
                  <a:schemeClr val="tx1">
                    <a:lumMod val="85000"/>
                    <a:lumOff val="15000"/>
                  </a:schemeClr>
                </a:solidFill>
              </a:rPr>
              <a:t>Neighbo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241983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34852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55423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557504-FA2D-4B25-BE13-3EABE7962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237" y="914400"/>
            <a:ext cx="3657600" cy="28875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800" kern="1200" dirty="0">
                <a:latin typeface="+mj-lt"/>
                <a:ea typeface="+mj-ea"/>
                <a:cs typeface="+mj-cs"/>
              </a:rPr>
              <a:t>More technical debt</a:t>
            </a:r>
          </a:p>
        </p:txBody>
      </p:sp>
      <p:pic>
        <p:nvPicPr>
          <p:cNvPr id="6" name="Content Placeholder 4" descr="A picture containing outdoor, tree, wood, wooden&#10;&#10;Description automatically generated">
            <a:extLst>
              <a:ext uri="{FF2B5EF4-FFF2-40B4-BE49-F238E27FC236}">
                <a16:creationId xmlns:a16="http://schemas.microsoft.com/office/drawing/2014/main" id="{5416FAD6-790E-42E3-9330-CCC1932ACC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851"/>
          <a:stretch/>
        </p:blipFill>
        <p:spPr>
          <a:xfrm rot="5400000">
            <a:off x="5490196" y="859218"/>
            <a:ext cx="5880796" cy="5147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5265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Picture 3" descr="A picture containing stone, step&#10;&#10;Description automatically generated">
            <a:extLst>
              <a:ext uri="{FF2B5EF4-FFF2-40B4-BE49-F238E27FC236}">
                <a16:creationId xmlns:a16="http://schemas.microsoft.com/office/drawing/2014/main" id="{9BAEB916-61E9-46A6-8CA6-65550AE4D1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667641" y="-2666359"/>
            <a:ext cx="6856718" cy="12192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80D27A-FA6D-43B7-B377-42E467444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2392DDAE-9823-6946-874E-259A5CB9452D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13F8061-D54D-441D-8BBD-A5466C0F18FB}"/>
              </a:ext>
            </a:extLst>
          </p:cNvPr>
          <p:cNvSpPr/>
          <p:nvPr/>
        </p:nvSpPr>
        <p:spPr>
          <a:xfrm>
            <a:off x="10168569" y="3047350"/>
            <a:ext cx="1795749" cy="1421176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835685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3: Discovery/Difficulty</a:t>
            </a:r>
            <a:br>
              <a:rPr lang="en-US"/>
            </a:br>
            <a:r>
              <a:rPr lang="en-US"/>
              <a:t>(bigger/harder than we though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50</a:t>
            </a:fld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376B7C2-90FB-45CA-8AD6-DF76B896D4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5518" y="2656488"/>
            <a:ext cx="1300482" cy="86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436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6: Decisions</a:t>
            </a:r>
            <a:br>
              <a:rPr lang="en-US"/>
            </a:b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3973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51</a:t>
            </a:fld>
            <a:endParaRPr lang="en-US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A02B8CD-E804-4CD4-8E89-00CFF0B345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2311"/>
            <a:ext cx="720000" cy="480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CB68C4C-4BB6-44FE-9031-9A8F98CD28AF}"/>
              </a:ext>
            </a:extLst>
          </p:cNvPr>
          <p:cNvGrpSpPr/>
          <p:nvPr/>
        </p:nvGrpSpPr>
        <p:grpSpPr>
          <a:xfrm>
            <a:off x="5776525" y="2633199"/>
            <a:ext cx="720000" cy="480000"/>
            <a:chOff x="5776525" y="2633199"/>
            <a:chExt cx="720000" cy="480000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DAC0B2A-6A83-4333-9BF1-375460093E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6525" y="2633199"/>
              <a:ext cx="720000" cy="4800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8731CEB-5A4A-482F-B69B-391B2B1AC6A5}"/>
                </a:ext>
              </a:extLst>
            </p:cNvPr>
            <p:cNvSpPr txBox="1"/>
            <p:nvPr/>
          </p:nvSpPr>
          <p:spPr>
            <a:xfrm>
              <a:off x="5777643" y="2669750"/>
              <a:ext cx="656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A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C8F3E89-796A-4CC2-A326-FFBD56A07631}"/>
              </a:ext>
            </a:extLst>
          </p:cNvPr>
          <p:cNvGrpSpPr/>
          <p:nvPr/>
        </p:nvGrpSpPr>
        <p:grpSpPr>
          <a:xfrm>
            <a:off x="5776525" y="3177414"/>
            <a:ext cx="720000" cy="480000"/>
            <a:chOff x="5776525" y="3177414"/>
            <a:chExt cx="720000" cy="48000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C65AF40-196B-42F7-A590-8870AB065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6525" y="3177414"/>
              <a:ext cx="720000" cy="48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27AE59-D305-4435-8790-BA883D4CFBB4}"/>
                </a:ext>
              </a:extLst>
            </p:cNvPr>
            <p:cNvSpPr txBox="1"/>
            <p:nvPr/>
          </p:nvSpPr>
          <p:spPr>
            <a:xfrm>
              <a:off x="5777642" y="3196899"/>
              <a:ext cx="656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B</a:t>
              </a:r>
            </a:p>
          </p:txBody>
        </p:sp>
      </p:grpSp>
      <p:sp>
        <p:nvSpPr>
          <p:cNvPr id="9" name="Arrow: Left-Up 8">
            <a:extLst>
              <a:ext uri="{FF2B5EF4-FFF2-40B4-BE49-F238E27FC236}">
                <a16:creationId xmlns:a16="http://schemas.microsoft.com/office/drawing/2014/main" id="{3EF15BFB-F464-43DC-A046-31048F213B2E}"/>
              </a:ext>
            </a:extLst>
          </p:cNvPr>
          <p:cNvSpPr/>
          <p:nvPr/>
        </p:nvSpPr>
        <p:spPr>
          <a:xfrm rot="8206334">
            <a:off x="5422900" y="2873199"/>
            <a:ext cx="564936" cy="569112"/>
          </a:xfrm>
          <a:prstGeom prst="lef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262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026A84AF-6F58-471A-BF1F-10D8C03511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63B061-D5DF-41F3-BC63-2665918C8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8662"/>
            <a:ext cx="3785513" cy="3728853"/>
          </a:xfrm>
          <a:noFill/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5200"/>
              <a:t>Blackberry Bush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2860A51-8C7D-4187-8FC3-AFD3705669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009505" y="10"/>
            <a:ext cx="7182495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00247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38952-2B75-4454-A722-F33E626FC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orny Issues</a:t>
            </a:r>
          </a:p>
        </p:txBody>
      </p:sp>
      <p:pic>
        <p:nvPicPr>
          <p:cNvPr id="5" name="Content Placeholder 4" descr="A picture containing tree, outdoor, forest, branch&#10;&#10;Description automatically generated">
            <a:extLst>
              <a:ext uri="{FF2B5EF4-FFF2-40B4-BE49-F238E27FC236}">
                <a16:creationId xmlns:a16="http://schemas.microsoft.com/office/drawing/2014/main" id="{00A3A965-C363-4CE3-BEE0-D1F4DE8610A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838200" y="1825625"/>
            <a:ext cx="6223000" cy="4667250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20B00E6-7324-474D-A7DD-57FD19286D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693984" y="1708131"/>
            <a:ext cx="5441795" cy="4081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65587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#8: Derailed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54</a:t>
            </a:fld>
            <a:endParaRPr lang="en-US"/>
          </a:p>
        </p:txBody>
      </p:sp>
      <p:sp>
        <p:nvSpPr>
          <p:cNvPr id="32" name="Hexagon 31">
            <a:extLst>
              <a:ext uri="{FF2B5EF4-FFF2-40B4-BE49-F238E27FC236}">
                <a16:creationId xmlns:a16="http://schemas.microsoft.com/office/drawing/2014/main" id="{3CB12585-EFBF-4AF7-BE8C-844C1CD4C915}"/>
              </a:ext>
            </a:extLst>
          </p:cNvPr>
          <p:cNvSpPr/>
          <p:nvPr/>
        </p:nvSpPr>
        <p:spPr>
          <a:xfrm>
            <a:off x="5628581" y="2795577"/>
            <a:ext cx="284996" cy="300895"/>
          </a:xfrm>
          <a:prstGeom prst="hexagon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182405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0BE06D2-0516-4943-B391-5BAD9AED175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20" y="10"/>
            <a:ext cx="12191980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20142"/>
            <a:ext cx="12192000" cy="736551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A0BA69-9DCC-42BF-87BD-0C465F5AA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5317240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>
                <a:solidFill>
                  <a:schemeClr val="tx1">
                    <a:lumMod val="85000"/>
                    <a:lumOff val="15000"/>
                  </a:schemeClr>
                </a:solidFill>
              </a:rPr>
              <a:t>In progres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241983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34852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412596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E2296-3912-444C-9837-77EBC6007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ld Mother Hubbard</a:t>
            </a:r>
          </a:p>
        </p:txBody>
      </p:sp>
      <p:pic>
        <p:nvPicPr>
          <p:cNvPr id="5" name="Content Placeholder 4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FFF1493C-CDF3-4E62-9492-81C5112D27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3195108" y="1825625"/>
            <a:ext cx="5801784" cy="4351338"/>
          </a:xfrm>
        </p:spPr>
      </p:pic>
    </p:spTree>
    <p:extLst>
      <p:ext uri="{BB962C8B-B14F-4D97-AF65-F5344CB8AC3E}">
        <p14:creationId xmlns:p14="http://schemas.microsoft.com/office/powerpoint/2010/main" val="161974121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#5: Dependenc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57</a:t>
            </a:fld>
            <a:endParaRPr lang="en-US"/>
          </a:p>
        </p:txBody>
      </p:sp>
      <p:sp>
        <p:nvSpPr>
          <p:cNvPr id="11" name="Cross 10">
            <a:extLst>
              <a:ext uri="{FF2B5EF4-FFF2-40B4-BE49-F238E27FC236}">
                <a16:creationId xmlns:a16="http://schemas.microsoft.com/office/drawing/2014/main" id="{D121B384-14DA-4476-AAFD-F2BC7DCECCD5}"/>
              </a:ext>
            </a:extLst>
          </p:cNvPr>
          <p:cNvSpPr/>
          <p:nvPr/>
        </p:nvSpPr>
        <p:spPr>
          <a:xfrm>
            <a:off x="5267881" y="2880352"/>
            <a:ext cx="252055" cy="221100"/>
          </a:xfrm>
          <a:prstGeom prst="plus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29118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4CD9C-AAED-40F9-ABEB-FB7B36A64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ccess!</a:t>
            </a:r>
            <a:endParaRPr lang="en-US" dirty="0"/>
          </a:p>
        </p:txBody>
      </p:sp>
      <p:pic>
        <p:nvPicPr>
          <p:cNvPr id="5" name="Content Placeholder 4" descr="A picture containing outdoor&#10;&#10;Description automatically generated">
            <a:extLst>
              <a:ext uri="{FF2B5EF4-FFF2-40B4-BE49-F238E27FC236}">
                <a16:creationId xmlns:a16="http://schemas.microsoft.com/office/drawing/2014/main" id="{BB41428B-FDEB-4516-B68D-10AB199648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3195108" y="1825625"/>
            <a:ext cx="5801784" cy="4351338"/>
          </a:xfrm>
        </p:spPr>
      </p:pic>
    </p:spTree>
    <p:extLst>
      <p:ext uri="{BB962C8B-B14F-4D97-AF65-F5344CB8AC3E}">
        <p14:creationId xmlns:p14="http://schemas.microsoft.com/office/powerpoint/2010/main" val="317509094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2C4FE-D2DA-434D-B227-08188CA62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8 D’s of Delay</a:t>
            </a:r>
          </a:p>
        </p:txBody>
      </p:sp>
    </p:spTree>
    <p:extLst>
      <p:ext uri="{BB962C8B-B14F-4D97-AF65-F5344CB8AC3E}">
        <p14:creationId xmlns:p14="http://schemas.microsoft.com/office/powerpoint/2010/main" val="1223225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A278F06-00CC-4F80-BA58-C91972716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2DDAE-9823-6946-874E-259A5CB9452D}" type="slidenum">
              <a:rPr lang="en-US" smtClean="0"/>
              <a:t>6</a:t>
            </a:fld>
            <a:endParaRPr lang="en-US"/>
          </a:p>
        </p:txBody>
      </p:sp>
      <p:pic>
        <p:nvPicPr>
          <p:cNvPr id="3" name="IMG_0253">
            <a:hlinkClick r:id="" action="ppaction://media"/>
            <a:extLst>
              <a:ext uri="{FF2B5EF4-FFF2-40B4-BE49-F238E27FC236}">
                <a16:creationId xmlns:a16="http://schemas.microsoft.com/office/drawing/2014/main" id="{84175C1E-22F8-4A85-830A-D3594CDC4A2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2049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538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4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#1: Dawdle (wait in queue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0</a:t>
            </a:fld>
            <a:endParaRPr lang="en-US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0717FC29-7176-4FF4-96D8-5156DF7A8F5C}"/>
              </a:ext>
            </a:extLst>
          </p:cNvPr>
          <p:cNvSpPr/>
          <p:nvPr/>
        </p:nvSpPr>
        <p:spPr>
          <a:xfrm flipV="1">
            <a:off x="2423592" y="5497648"/>
            <a:ext cx="252000" cy="711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Arrow: Down 55">
            <a:extLst>
              <a:ext uri="{FF2B5EF4-FFF2-40B4-BE49-F238E27FC236}">
                <a16:creationId xmlns:a16="http://schemas.microsoft.com/office/drawing/2014/main" id="{0D0B32CC-39C5-4548-A743-76BDB558FA6B}"/>
              </a:ext>
            </a:extLst>
          </p:cNvPr>
          <p:cNvSpPr/>
          <p:nvPr/>
        </p:nvSpPr>
        <p:spPr>
          <a:xfrm flipV="1">
            <a:off x="4250684" y="5497648"/>
            <a:ext cx="252000" cy="711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Arrow: Down 60">
            <a:extLst>
              <a:ext uri="{FF2B5EF4-FFF2-40B4-BE49-F238E27FC236}">
                <a16:creationId xmlns:a16="http://schemas.microsoft.com/office/drawing/2014/main" id="{8417AFB0-CB01-4597-9F40-D22DF838F120}"/>
              </a:ext>
            </a:extLst>
          </p:cNvPr>
          <p:cNvSpPr/>
          <p:nvPr/>
        </p:nvSpPr>
        <p:spPr>
          <a:xfrm flipV="1">
            <a:off x="5970000" y="5497648"/>
            <a:ext cx="252000" cy="711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Arrow: Down 64">
            <a:extLst>
              <a:ext uri="{FF2B5EF4-FFF2-40B4-BE49-F238E27FC236}">
                <a16:creationId xmlns:a16="http://schemas.microsoft.com/office/drawing/2014/main" id="{D9FD7810-CBE3-4008-9F33-AC44438B64FA}"/>
              </a:ext>
            </a:extLst>
          </p:cNvPr>
          <p:cNvSpPr/>
          <p:nvPr/>
        </p:nvSpPr>
        <p:spPr>
          <a:xfrm flipV="1">
            <a:off x="7843622" y="5498864"/>
            <a:ext cx="252000" cy="71109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4479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#2: Defec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1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2F5603D-BC21-4898-8171-1B13A8BE8399}"/>
              </a:ext>
            </a:extLst>
          </p:cNvPr>
          <p:cNvGrpSpPr/>
          <p:nvPr/>
        </p:nvGrpSpPr>
        <p:grpSpPr>
          <a:xfrm>
            <a:off x="5257838" y="2776468"/>
            <a:ext cx="216416" cy="301651"/>
            <a:chOff x="5195312" y="3471917"/>
            <a:chExt cx="216416" cy="301651"/>
          </a:xfrm>
        </p:grpSpPr>
        <p:sp>
          <p:nvSpPr>
            <p:cNvPr id="11" name="Sun 10">
              <a:extLst>
                <a:ext uri="{FF2B5EF4-FFF2-40B4-BE49-F238E27FC236}">
                  <a16:creationId xmlns:a16="http://schemas.microsoft.com/office/drawing/2014/main" id="{B3992425-7441-4D7D-A94C-D5B6B2509F61}"/>
                </a:ext>
              </a:extLst>
            </p:cNvPr>
            <p:cNvSpPr/>
            <p:nvPr/>
          </p:nvSpPr>
          <p:spPr>
            <a:xfrm>
              <a:off x="5195312" y="3541253"/>
              <a:ext cx="216416" cy="232315"/>
            </a:xfrm>
            <a:prstGeom prst="sun">
              <a:avLst/>
            </a:prstGeom>
            <a:solidFill>
              <a:srgbClr val="6633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Smiley Face 12">
              <a:extLst>
                <a:ext uri="{FF2B5EF4-FFF2-40B4-BE49-F238E27FC236}">
                  <a16:creationId xmlns:a16="http://schemas.microsoft.com/office/drawing/2014/main" id="{B8DA2C1B-910D-419F-A9CA-667F2DD3AC9F}"/>
                </a:ext>
              </a:extLst>
            </p:cNvPr>
            <p:cNvSpPr/>
            <p:nvPr/>
          </p:nvSpPr>
          <p:spPr>
            <a:xfrm>
              <a:off x="5236479" y="3471917"/>
              <a:ext cx="134081" cy="118062"/>
            </a:xfrm>
            <a:prstGeom prst="smileyFace">
              <a:avLst/>
            </a:prstGeom>
            <a:solidFill>
              <a:srgbClr val="6633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2312718-F6F7-4EE9-AD4D-EAA1F1C0B2E9}"/>
              </a:ext>
            </a:extLst>
          </p:cNvPr>
          <p:cNvGrpSpPr/>
          <p:nvPr/>
        </p:nvGrpSpPr>
        <p:grpSpPr>
          <a:xfrm>
            <a:off x="5410238" y="2928868"/>
            <a:ext cx="216416" cy="301651"/>
            <a:chOff x="5195312" y="3471917"/>
            <a:chExt cx="216416" cy="301651"/>
          </a:xfrm>
        </p:grpSpPr>
        <p:sp>
          <p:nvSpPr>
            <p:cNvPr id="39" name="Sun 38">
              <a:extLst>
                <a:ext uri="{FF2B5EF4-FFF2-40B4-BE49-F238E27FC236}">
                  <a16:creationId xmlns:a16="http://schemas.microsoft.com/office/drawing/2014/main" id="{896F8F0B-E3DC-4C1E-8FFC-12F3F0998A63}"/>
                </a:ext>
              </a:extLst>
            </p:cNvPr>
            <p:cNvSpPr/>
            <p:nvPr/>
          </p:nvSpPr>
          <p:spPr>
            <a:xfrm>
              <a:off x="5195312" y="3541253"/>
              <a:ext cx="216416" cy="232315"/>
            </a:xfrm>
            <a:prstGeom prst="sun">
              <a:avLst/>
            </a:prstGeom>
            <a:solidFill>
              <a:srgbClr val="6633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Smiley Face 39">
              <a:extLst>
                <a:ext uri="{FF2B5EF4-FFF2-40B4-BE49-F238E27FC236}">
                  <a16:creationId xmlns:a16="http://schemas.microsoft.com/office/drawing/2014/main" id="{A4E83268-FEAE-46CE-AB94-040835DA9A20}"/>
                </a:ext>
              </a:extLst>
            </p:cNvPr>
            <p:cNvSpPr/>
            <p:nvPr/>
          </p:nvSpPr>
          <p:spPr>
            <a:xfrm>
              <a:off x="5236479" y="3471917"/>
              <a:ext cx="134081" cy="118062"/>
            </a:xfrm>
            <a:prstGeom prst="smileyFace">
              <a:avLst/>
            </a:prstGeom>
            <a:solidFill>
              <a:srgbClr val="6633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8166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3: Discovery/Difficulty</a:t>
            </a:r>
            <a:br>
              <a:rPr lang="en-US"/>
            </a:br>
            <a:r>
              <a:rPr lang="en-US"/>
              <a:t>(bigger/harder than we though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2</a:t>
            </a:fld>
            <a:endParaRPr lang="en-US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376B7C2-90FB-45CA-8AD6-DF76B896D4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5518" y="2656488"/>
            <a:ext cx="1300482" cy="866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255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4: Distraction (multitasking) </a:t>
            </a:r>
            <a:br>
              <a:rPr lang="en-US"/>
            </a:br>
            <a:r>
              <a:rPr lang="en-US"/>
              <a:t>(see also </a:t>
            </a:r>
            <a:r>
              <a:rPr lang="en-US" err="1"/>
              <a:t>Deprioritization</a:t>
            </a:r>
            <a:r>
              <a:rPr lang="en-US"/>
              <a:t>, Dilly-Dall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3</a:t>
            </a:fld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C65AF40-196B-42F7-A590-8870AB06554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977" y="3572491"/>
            <a:ext cx="720000" cy="480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A02B8CD-E804-4CD4-8E89-00CFF0B345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0108" y="2678395"/>
            <a:ext cx="72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073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#5: Dependenc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4</a:t>
            </a:fld>
            <a:endParaRPr lang="en-US"/>
          </a:p>
        </p:txBody>
      </p:sp>
      <p:sp>
        <p:nvSpPr>
          <p:cNvPr id="11" name="Cross 10">
            <a:extLst>
              <a:ext uri="{FF2B5EF4-FFF2-40B4-BE49-F238E27FC236}">
                <a16:creationId xmlns:a16="http://schemas.microsoft.com/office/drawing/2014/main" id="{D121B384-14DA-4476-AAFD-F2BC7DCECCD5}"/>
              </a:ext>
            </a:extLst>
          </p:cNvPr>
          <p:cNvSpPr/>
          <p:nvPr/>
        </p:nvSpPr>
        <p:spPr>
          <a:xfrm>
            <a:off x="5267881" y="2880352"/>
            <a:ext cx="252055" cy="221100"/>
          </a:xfrm>
          <a:prstGeom prst="plus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09711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#6: Decisions</a:t>
            </a:r>
            <a:br>
              <a:rPr lang="en-US"/>
            </a:br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3973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5</a:t>
            </a:fld>
            <a:endParaRPr lang="en-US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7A02B8CD-E804-4CD4-8E89-00CFF0B345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2311"/>
            <a:ext cx="720000" cy="480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6CB68C4C-4BB6-44FE-9031-9A8F98CD28AF}"/>
              </a:ext>
            </a:extLst>
          </p:cNvPr>
          <p:cNvGrpSpPr/>
          <p:nvPr/>
        </p:nvGrpSpPr>
        <p:grpSpPr>
          <a:xfrm>
            <a:off x="5776525" y="2633199"/>
            <a:ext cx="720000" cy="480000"/>
            <a:chOff x="5776525" y="2633199"/>
            <a:chExt cx="720000" cy="480000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FDAC0B2A-6A83-4333-9BF1-375460093E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6525" y="2633199"/>
              <a:ext cx="720000" cy="4800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8731CEB-5A4A-482F-B69B-391B2B1AC6A5}"/>
                </a:ext>
              </a:extLst>
            </p:cNvPr>
            <p:cNvSpPr txBox="1"/>
            <p:nvPr/>
          </p:nvSpPr>
          <p:spPr>
            <a:xfrm>
              <a:off x="5777643" y="2669750"/>
              <a:ext cx="656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A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C8F3E89-796A-4CC2-A326-FFBD56A07631}"/>
              </a:ext>
            </a:extLst>
          </p:cNvPr>
          <p:cNvGrpSpPr/>
          <p:nvPr/>
        </p:nvGrpSpPr>
        <p:grpSpPr>
          <a:xfrm>
            <a:off x="5776525" y="3177414"/>
            <a:ext cx="720000" cy="480000"/>
            <a:chOff x="5776525" y="3177414"/>
            <a:chExt cx="720000" cy="48000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C65AF40-196B-42F7-A590-8870AB0655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6525" y="3177414"/>
              <a:ext cx="720000" cy="48000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127AE59-D305-4435-8790-BA883D4CFBB4}"/>
                </a:ext>
              </a:extLst>
            </p:cNvPr>
            <p:cNvSpPr txBox="1"/>
            <p:nvPr/>
          </p:nvSpPr>
          <p:spPr>
            <a:xfrm>
              <a:off x="5777642" y="3196899"/>
              <a:ext cx="65686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B</a:t>
              </a:r>
            </a:p>
          </p:txBody>
        </p:sp>
      </p:grpSp>
      <p:sp>
        <p:nvSpPr>
          <p:cNvPr id="9" name="Arrow: Left-Up 8">
            <a:extLst>
              <a:ext uri="{FF2B5EF4-FFF2-40B4-BE49-F238E27FC236}">
                <a16:creationId xmlns:a16="http://schemas.microsoft.com/office/drawing/2014/main" id="{3EF15BFB-F464-43DC-A046-31048F213B2E}"/>
              </a:ext>
            </a:extLst>
          </p:cNvPr>
          <p:cNvSpPr/>
          <p:nvPr/>
        </p:nvSpPr>
        <p:spPr>
          <a:xfrm rot="8206334">
            <a:off x="5422900" y="2873199"/>
            <a:ext cx="564936" cy="569112"/>
          </a:xfrm>
          <a:prstGeom prst="lef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759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4108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#7: Departures</a:t>
            </a:r>
            <a:br>
              <a:rPr lang="en-US" dirty="0"/>
            </a:br>
            <a:r>
              <a:rPr lang="en-US" sz="3600" dirty="0"/>
              <a:t>Temporary – vacation, sick</a:t>
            </a:r>
            <a:br>
              <a:rPr lang="en-US" sz="3600" dirty="0"/>
            </a:br>
            <a:r>
              <a:rPr lang="en-US" sz="3600" dirty="0"/>
              <a:t>Longer term – resig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3973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297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4108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dirty="0"/>
              <a:t>#7: Departures</a:t>
            </a:r>
            <a:br>
              <a:rPr lang="en-US" dirty="0"/>
            </a:br>
            <a:r>
              <a:rPr lang="en-US" sz="3600" dirty="0"/>
              <a:t>Temporary – vacation, sick</a:t>
            </a:r>
            <a:br>
              <a:rPr lang="en-US" sz="3600" dirty="0"/>
            </a:br>
            <a:r>
              <a:rPr lang="en-US" sz="3600" dirty="0"/>
              <a:t>Longer term – resig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0714" y="2963973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7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C9341B7-E179-4EB6-AC07-63709E4B320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5303" y="2516378"/>
            <a:ext cx="1611172" cy="1488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31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87 0.00648 L -0.00287 0.00648 C 0.00404 -0.0199 0.00924 -0.04768 0.01784 -0.07222 C 0.03958 -0.13495 0.06094 -0.19236 0.09466 -0.23449 C 0.10417 -0.24652 0.11497 -0.25416 0.12539 -0.26342 C 0.12825 -0.26597 0.13151 -0.26759 0.13437 -0.2699 C 0.13984 -0.27407 0.14518 -0.27893 0.15065 -0.28264 C 0.15547 -0.28588 0.16523 -0.28912 0.17057 -0.2956 C 0.17773 -0.30416 0.18607 -0.31088 0.19141 -0.32291 C 0.19349 -0.32777 0.1944 -0.33565 0.19766 -0.33727 L 0.23021 -0.35347 L 0.28633 -0.3581 " pathEditMode="relative" ptsTypes="AAAAAAAAAA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#8: Derailed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68</a:t>
            </a:fld>
            <a:endParaRPr lang="en-US"/>
          </a:p>
        </p:txBody>
      </p:sp>
      <p:sp>
        <p:nvSpPr>
          <p:cNvPr id="32" name="Hexagon 31">
            <a:extLst>
              <a:ext uri="{FF2B5EF4-FFF2-40B4-BE49-F238E27FC236}">
                <a16:creationId xmlns:a16="http://schemas.microsoft.com/office/drawing/2014/main" id="{3CB12585-EFBF-4AF7-BE8C-844C1CD4C915}"/>
              </a:ext>
            </a:extLst>
          </p:cNvPr>
          <p:cNvSpPr/>
          <p:nvPr/>
        </p:nvSpPr>
        <p:spPr>
          <a:xfrm>
            <a:off x="5628581" y="2795577"/>
            <a:ext cx="284996" cy="300895"/>
          </a:xfrm>
          <a:prstGeom prst="hexagon">
            <a:avLst/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749065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9DDA24-2B66-46AE-BADA-9B4BAD073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t Wait – Did anyone notice the 8d”S”</a:t>
            </a:r>
          </a:p>
        </p:txBody>
      </p:sp>
    </p:spTree>
    <p:extLst>
      <p:ext uri="{BB962C8B-B14F-4D97-AF65-F5344CB8AC3E}">
        <p14:creationId xmlns:p14="http://schemas.microsoft.com/office/powerpoint/2010/main" val="5391468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A2FCB9-8FED-4E85-B18D-1A8F532B38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62271"/>
            <a:ext cx="10515600" cy="112841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5200" dirty="0">
                <a:solidFill>
                  <a:schemeClr val="tx1"/>
                </a:solidFill>
                <a:latin typeface="+mj-lt"/>
                <a:cs typeface="+mj-cs"/>
              </a:rPr>
              <a:t>Uber to the rescue</a:t>
            </a:r>
          </a:p>
        </p:txBody>
      </p:sp>
      <p:pic>
        <p:nvPicPr>
          <p:cNvPr id="3074" name="Picture 2" descr="Map&#10;&#10;Description automatically generated">
            <a:extLst>
              <a:ext uri="{FF2B5EF4-FFF2-40B4-BE49-F238E27FC236}">
                <a16:creationId xmlns:a16="http://schemas.microsoft.com/office/drawing/2014/main" id="{54FECB76-A480-4C23-8DCB-FF1DE48D76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838200" y="1845426"/>
            <a:ext cx="10512547" cy="4450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360484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2B01238-BDB8-DC42-A119-36DA74AEE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ope Creep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5A702F-319F-8D4F-9FAA-B6AD49C332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773787"/>
            <a:ext cx="720000" cy="480000"/>
          </a:xfrm>
          <a:prstGeom prst="rect">
            <a:avLst/>
          </a:prstGeom>
        </p:spPr>
      </p:pic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1F82FA91-8598-214E-A3D8-CE97B7D2AA75}"/>
              </a:ext>
            </a:extLst>
          </p:cNvPr>
          <p:cNvGraphicFramePr>
            <a:graphicFrameLocks/>
          </p:cNvGraphicFramePr>
          <p:nvPr/>
        </p:nvGraphicFramePr>
        <p:xfrm>
          <a:off x="2104886" y="1844824"/>
          <a:ext cx="8063279" cy="34553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81279">
                  <a:extLst>
                    <a:ext uri="{9D8B030D-6E8A-4147-A177-3AD203B41FA5}">
                      <a16:colId xmlns:a16="http://schemas.microsoft.com/office/drawing/2014/main" val="9111512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1107779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2591394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94286507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43851405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0069830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79375184"/>
                    </a:ext>
                  </a:extLst>
                </a:gridCol>
                <a:gridCol w="882000">
                  <a:extLst>
                    <a:ext uri="{9D8B030D-6E8A-4147-A177-3AD203B41FA5}">
                      <a16:colId xmlns:a16="http://schemas.microsoft.com/office/drawing/2014/main" val="21863987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67830094"/>
                    </a:ext>
                  </a:extLst>
                </a:gridCol>
              </a:tblGrid>
              <a:tr h="419559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lected</a:t>
                      </a:r>
                      <a:r>
                        <a:rPr lang="en-US" sz="1200" b="0">
                          <a:solidFill>
                            <a:schemeClr val="accent5"/>
                          </a:solidFill>
                        </a:rPr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velop Concept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rafting</a:t>
                      </a:r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/>
                        <a:t>Edit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Publishing</a:t>
                      </a:r>
                      <a:endParaRPr lang="en-US" sz="1200" b="1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one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089183077"/>
                  </a:ext>
                </a:extLst>
              </a:tr>
              <a:tr h="332455"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Ac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/>
                        <a:t>Don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461007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001166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372151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46976721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75433784"/>
                  </a:ext>
                </a:extLst>
              </a:tr>
              <a:tr h="540664"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381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032275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04EFBB6-B9B8-1A48-90F7-1EC9065935F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2679822"/>
            <a:ext cx="720000" cy="48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34E3CC-EAB9-064F-8D81-39ECD51CD3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684" y="3224376"/>
            <a:ext cx="720000" cy="48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B40C03-B33E-874D-8127-9E424D5F27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3754820"/>
            <a:ext cx="720000" cy="48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20DA9EE-E348-D048-951F-A46DE76E767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47" y="2679822"/>
            <a:ext cx="720000" cy="48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7C194E7-CA54-A34C-A75D-0EC1802151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3153" y="3764669"/>
            <a:ext cx="720000" cy="48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810F468-EF3B-9040-9D26-C12A3D9ABF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2678395"/>
            <a:ext cx="720000" cy="48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7B61FE-F86D-2841-96D5-B833AAD95C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5417" y="3764669"/>
            <a:ext cx="720000" cy="4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72EE98-D517-A247-808D-08AC4371430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9622" y="2687294"/>
            <a:ext cx="720000" cy="48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3C6FC8D-93F1-C04D-81C4-5E563738874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2687294"/>
            <a:ext cx="720000" cy="4800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618A208-5055-9849-845E-B259FBA12F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228505"/>
            <a:ext cx="720000" cy="480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EC9A59C-07DA-1842-BE99-DD8DDB0F57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3773568"/>
            <a:ext cx="720000" cy="4800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335B70-7A18-E345-9FDD-47E664915CB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827" y="4313636"/>
            <a:ext cx="720000" cy="480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7625AB7-73A0-F649-A5E6-CB6C453B9E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417" y="3972714"/>
            <a:ext cx="288000" cy="28800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69BE79E2-514E-A64D-8439-51C7E59D5179}"/>
              </a:ext>
            </a:extLst>
          </p:cNvPr>
          <p:cNvSpPr/>
          <p:nvPr/>
        </p:nvSpPr>
        <p:spPr>
          <a:xfrm>
            <a:off x="3764684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8DF524C-2488-F843-89E7-95D71956E6EB}"/>
              </a:ext>
            </a:extLst>
          </p:cNvPr>
          <p:cNvSpPr/>
          <p:nvPr/>
        </p:nvSpPr>
        <p:spPr>
          <a:xfrm>
            <a:off x="5519936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C6D8BB2-3F07-ED41-AE93-1A2E055211F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2998" y="4313636"/>
            <a:ext cx="720000" cy="48000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/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400" b="0" i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∞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1E105AD5-D619-4041-8BE1-77F40267F9D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88416" y="2236588"/>
                <a:ext cx="252000" cy="252000"/>
              </a:xfrm>
              <a:prstGeom prst="ellipse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Oval 56">
            <a:extLst>
              <a:ext uri="{FF2B5EF4-FFF2-40B4-BE49-F238E27FC236}">
                <a16:creationId xmlns:a16="http://schemas.microsoft.com/office/drawing/2014/main" id="{8D0BF576-0CD1-844F-BEF6-344FCE8334A1}"/>
              </a:ext>
            </a:extLst>
          </p:cNvPr>
          <p:cNvSpPr/>
          <p:nvPr/>
        </p:nvSpPr>
        <p:spPr>
          <a:xfrm>
            <a:off x="2423592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5</a:t>
            </a:r>
            <a:endParaRPr lang="en-US" b="1">
              <a:solidFill>
                <a:schemeClr val="accent5"/>
              </a:solidFill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CF412BB-0B7E-0E4D-B199-30426FD581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2687294"/>
            <a:ext cx="720000" cy="48000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9D46A37-A5D5-2347-871C-FAB5448CD59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228505"/>
            <a:ext cx="720000" cy="48000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B1B67EE-8C2F-F04A-A782-FAD45025C5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312" y="3773568"/>
            <a:ext cx="720000" cy="48000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BA3195F-38C2-9C4B-8FF8-F78B4F6886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4059" y="4853704"/>
            <a:ext cx="720000" cy="4800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14A71B73-D162-9845-90BA-A053EA8F6B6F}"/>
              </a:ext>
            </a:extLst>
          </p:cNvPr>
          <p:cNvSpPr/>
          <p:nvPr/>
        </p:nvSpPr>
        <p:spPr>
          <a:xfrm>
            <a:off x="7356168" y="2236588"/>
            <a:ext cx="252000" cy="252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3</a:t>
            </a:r>
            <a:endParaRPr lang="en-US" b="1">
              <a:solidFill>
                <a:schemeClr val="accent5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/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de-DE" sz="1400" b="0" i="0" smtClean="0">
                          <a:solidFill>
                            <a:schemeClr val="accent5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4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7D26B3EA-16FD-9F43-86A9-BCB2386609E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37827" y="2236588"/>
                <a:ext cx="252000" cy="2520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  <a:ln>
                <a:solidFill>
                  <a:schemeClr val="accent5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4AEBF3-7C23-3B47-93B8-D1CF947B9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5D5BA8-B7BB-4C45-B81C-5CC139B1D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70</a:t>
            </a:fld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E5BC706-6072-4F7A-A592-9169803935D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0047" y="2832222"/>
            <a:ext cx="720000" cy="480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BB1C496-6548-4F98-96C6-3321BD6AEE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2447" y="2984622"/>
            <a:ext cx="720000" cy="4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765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8942CE-71E6-3B43-A368-44A1D0658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/>
              <a:t>The 8 D’s of Delay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D4E2978-EEB0-A744-BBBB-A75A85B29C96}"/>
              </a:ext>
            </a:extLst>
          </p:cNvPr>
          <p:cNvSpPr txBox="1">
            <a:spLocks/>
          </p:cNvSpPr>
          <p:nvPr/>
        </p:nvSpPr>
        <p:spPr>
          <a:xfrm>
            <a:off x="7191375" y="3059434"/>
            <a:ext cx="4162425" cy="15113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b="1">
                <a:solidFill>
                  <a:schemeClr val="bg1"/>
                </a:solidFill>
              </a:rPr>
              <a:t>Todd Little</a:t>
            </a:r>
          </a:p>
          <a:p>
            <a:pPr marL="0" indent="0" algn="r">
              <a:buNone/>
            </a:pPr>
            <a:r>
              <a:rPr lang="en-US" sz="2000">
                <a:solidFill>
                  <a:schemeClr val="bg1"/>
                </a:solidFill>
              </a:rPr>
              <a:t>Chairman </a:t>
            </a:r>
          </a:p>
          <a:p>
            <a:pPr marL="0" indent="0" algn="r">
              <a:buNone/>
            </a:pPr>
            <a:r>
              <a:rPr lang="en-US" sz="2000">
                <a:solidFill>
                  <a:schemeClr val="bg1"/>
                </a:solidFill>
              </a:rPr>
              <a:t>Kanban University</a:t>
            </a:r>
          </a:p>
          <a:p>
            <a:pPr marL="0" indent="0" algn="r">
              <a:buNone/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B086B7DC-121E-A244-9EE5-5554CE945D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052"/>
            <a:ext cx="2005787" cy="1941909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A6ED52D-0A2B-7C42-93E3-66D3ABB586D5}"/>
              </a:ext>
            </a:extLst>
          </p:cNvPr>
          <p:cNvSpPr txBox="1">
            <a:spLocks/>
          </p:cNvSpPr>
          <p:nvPr/>
        </p:nvSpPr>
        <p:spPr>
          <a:xfrm>
            <a:off x="5751818" y="4638104"/>
            <a:ext cx="5601984" cy="151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rgbClr val="F0A000"/>
              </a:buClr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Clr>
                <a:srgbClr val="0070C0"/>
              </a:buClr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501AB0-D786-4BDD-8C57-0102F7B7BA4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1532" b="772"/>
          <a:stretch/>
        </p:blipFill>
        <p:spPr>
          <a:xfrm>
            <a:off x="6508351" y="1440878"/>
            <a:ext cx="2364844" cy="238622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094EAB4-5188-453D-B709-B4022F0F3E8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42738"/>
              </a:clrFrom>
              <a:clrTo>
                <a:srgbClr val="04273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117053" y="0"/>
            <a:ext cx="1453868" cy="294640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34248A5-831A-44E5-A6B7-23DB208B827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clrChange>
              <a:clrFrom>
                <a:srgbClr val="52C9FF"/>
              </a:clrFrom>
              <a:clrTo>
                <a:srgbClr val="52C9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1496" b="1231"/>
          <a:stretch/>
        </p:blipFill>
        <p:spPr>
          <a:xfrm>
            <a:off x="3595508" y="96561"/>
            <a:ext cx="2721316" cy="3291408"/>
          </a:xfrm>
          <a:prstGeom prst="rect">
            <a:avLst/>
          </a:prstGeom>
        </p:spPr>
      </p:pic>
      <p:pic>
        <p:nvPicPr>
          <p:cNvPr id="21" name="Picture 20" descr="A busy street full of traffic&#10;&#10;Description automatically generated with low confidence">
            <a:extLst>
              <a:ext uri="{FF2B5EF4-FFF2-40B4-BE49-F238E27FC236}">
                <a16:creationId xmlns:a16="http://schemas.microsoft.com/office/drawing/2014/main" id="{EA9E2D71-C180-4BBD-8642-D34B9A97DCA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3945" y="4021970"/>
            <a:ext cx="3941822" cy="221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6343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C1DD1A8A-57D5-4A81-AD04-532B043C5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07891EC-4501-44ED-A8C8-B11B6DB76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7602"/>
            <a:ext cx="12191999" cy="316214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25000">
                <a:srgbClr val="000000">
                  <a:alpha val="15000"/>
                </a:srgbClr>
              </a:gs>
              <a:gs pos="75000">
                <a:srgbClr val="000000">
                  <a:alpha val="15000"/>
                </a:srgbClr>
              </a:gs>
              <a:gs pos="50000">
                <a:srgbClr val="000000">
                  <a:alpha val="3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9C293C-8684-47DD-BA91-7811BF77F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325550"/>
            <a:ext cx="10058400" cy="357477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endParaRPr lang="en-US" sz="5200">
              <a:solidFill>
                <a:srgbClr val="FFFFFF"/>
              </a:solidFill>
              <a:latin typeface="+mj-lt"/>
              <a:cs typeface="+mj-cs"/>
            </a:endParaRPr>
          </a:p>
        </p:txBody>
      </p:sp>
      <p:pic>
        <p:nvPicPr>
          <p:cNvPr id="7" name="Picture 6" descr="A couple of men on a motorcycle&#10;&#10;Description automatically generated with medium confidence">
            <a:extLst>
              <a:ext uri="{FF2B5EF4-FFF2-40B4-BE49-F238E27FC236}">
                <a16:creationId xmlns:a16="http://schemas.microsoft.com/office/drawing/2014/main" id="{CBB32B2D-5A18-49CB-8F47-6E3CBE9C418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7" y="10"/>
            <a:ext cx="12191999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7803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Picture 3" descr="A group of people ride on a motorcycle&#10;&#10;Description automatically generated with medium confidence">
            <a:extLst>
              <a:ext uri="{FF2B5EF4-FFF2-40B4-BE49-F238E27FC236}">
                <a16:creationId xmlns:a16="http://schemas.microsoft.com/office/drawing/2014/main" id="{C1E9AC7B-55E1-4088-BC6E-689C4F4890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85" b="10659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98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/////wQAGwwAAAAAAAAAAAAAIAD///////////////8AAAD///////////////8DAAAAAg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207mouCRClKpCa7yUvM5HQFAAAAAAADAAAAAAADAAAAAwADAAUA////////BAAAAAMAEAALWoTew3qLdk6Wo+xHFa67CgUAAAABAAMAAAACAAMAAAABAAMAAAAAAP///////wMAAAAAAP///////w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G07mouCRClKpCa7yUvM5HQDRGF0YQAbAAAABExpbmtlZFNoYXBlRGF0YQAFAAAAAAACTmFtZQAZAAAATGlua2VkU2hhcGVzRGF0YVByb3BlcnR5ABBWZXJzaW9uAAAAAAAJTGFzdFdyaXRlAHmjW4V8AQAAAAEA/////8YAxgAAAAVfaWQAEAAAAARahN7Deot2Tpaj7EcVrrsKA0RhdGEAUwAAAAhQcmVzZW50YXRpb25TY2FubmVkRm9yTGlua2VkU2hhcGVzAAECTnVtYmVyRm9ybWF0U2VwYXJhdG9yTW9kZQAKAAAAQXV0b21hdGljAAACTmFtZQAkAAAATGlua2VkU2hhcGVQcmVzZW50YXRpb25TZXR0aW5nc0RhdGEAEFZlcnNpb24AAAAAAAlMYXN0V3JpdGUA0KNbhXw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0566CC40C6C04182DD0A86DE66549F" ma:contentTypeVersion="13" ma:contentTypeDescription="Create a new document." ma:contentTypeScope="" ma:versionID="00d37242b74f3f34072bd8c320751661">
  <xsd:schema xmlns:xsd="http://www.w3.org/2001/XMLSchema" xmlns:xs="http://www.w3.org/2001/XMLSchema" xmlns:p="http://schemas.microsoft.com/office/2006/metadata/properties" xmlns:ns2="4ccd3215-d870-4975-9d1b-ee8e7bca5afd" xmlns:ns3="c07a99cf-9629-4e24-b386-fe3ed5639f15" targetNamespace="http://schemas.microsoft.com/office/2006/metadata/properties" ma:root="true" ma:fieldsID="fdc256eba41953642ed940b319cf752b" ns2:_="" ns3:_="">
    <xsd:import namespace="4ccd3215-d870-4975-9d1b-ee8e7bca5afd"/>
    <xsd:import namespace="c07a99cf-9629-4e24-b386-fe3ed5639f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cd3215-d870-4975-9d1b-ee8e7bca5a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a99cf-9629-4e24-b386-fe3ed5639f1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969586C-B9F5-433B-84DA-048DA6CA8D5A}">
  <ds:schemaRefs>
    <ds:schemaRef ds:uri="4ccd3215-d870-4975-9d1b-ee8e7bca5afd"/>
    <ds:schemaRef ds:uri="c07a99cf-9629-4e24-b386-fe3ed5639f1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5128D41-5B59-4F8C-8DD9-048DFE67C72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92F9AF7-1744-4CFC-ADA0-464DF6D7A5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48</TotalTime>
  <Words>3130</Words>
  <Application>Microsoft Office PowerPoint</Application>
  <PresentationFormat>Widescreen</PresentationFormat>
  <Paragraphs>867</Paragraphs>
  <Slides>71</Slides>
  <Notes>31</Notes>
  <HiddenSlides>0</HiddenSlides>
  <MMClips>1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76" baseType="lpstr">
      <vt:lpstr>Apple Symbols</vt:lpstr>
      <vt:lpstr>Arial</vt:lpstr>
      <vt:lpstr>Calibri</vt:lpstr>
      <vt:lpstr>Cambria Math</vt:lpstr>
      <vt:lpstr>Office Theme</vt:lpstr>
      <vt:lpstr>The 8 D’s of Delay</vt:lpstr>
      <vt:lpstr>Fun with Uber in Bangalore</vt:lpstr>
      <vt:lpstr>Fun with Uber in Bangalore</vt:lpstr>
      <vt:lpstr>PowerPoint Presentation</vt:lpstr>
      <vt:lpstr>PowerPoint Presentation</vt:lpstr>
      <vt:lpstr>PowerPoint Presentation</vt:lpstr>
      <vt:lpstr>Uber to the rescue</vt:lpstr>
      <vt:lpstr>PowerPoint Presentation</vt:lpstr>
      <vt:lpstr>PowerPoint Presentation</vt:lpstr>
      <vt:lpstr>Sources of Delay</vt:lpstr>
      <vt:lpstr>Variation: “Lack of consistency or fixed pattern”</vt:lpstr>
      <vt:lpstr>Sources of delay in Bangalore</vt:lpstr>
      <vt:lpstr>8 D’s of Delay</vt:lpstr>
      <vt:lpstr>A Service-Oriented Kanban Board</vt:lpstr>
      <vt:lpstr>#1: Dawdle (wait in queue)</vt:lpstr>
      <vt:lpstr>#2: Defect</vt:lpstr>
      <vt:lpstr>#3: Discovery/Difficulty (bigger/harder than we thought)</vt:lpstr>
      <vt:lpstr>#4: Distraction (multitasking)  (see also Deprioritization, Dilly-Dally)</vt:lpstr>
      <vt:lpstr>#5: Dependency</vt:lpstr>
      <vt:lpstr>#6: Decisions </vt:lpstr>
      <vt:lpstr>#7: Departures Temporary – vacation, sick Longer term – resign</vt:lpstr>
      <vt:lpstr>#7: Departures Temporary – vacation, sick Longer term – resign</vt:lpstr>
      <vt:lpstr>#8: Derailed?</vt:lpstr>
      <vt:lpstr>But Wait – Did anyone notice the 8d”S”</vt:lpstr>
      <vt:lpstr>Scope Creep?</vt:lpstr>
      <vt:lpstr>Todd’s Fence Project During COVID</vt:lpstr>
      <vt:lpstr>Workflow</vt:lpstr>
      <vt:lpstr>Lumber Storage</vt:lpstr>
      <vt:lpstr>Sawing</vt:lpstr>
      <vt:lpstr>Disposal</vt:lpstr>
      <vt:lpstr>Workflow – Batch Sizes</vt:lpstr>
      <vt:lpstr>Workflow – Timings</vt:lpstr>
      <vt:lpstr>One section completed</vt:lpstr>
      <vt:lpstr>But Wait – What about Waits</vt:lpstr>
      <vt:lpstr>Delay – Need to dig out</vt:lpstr>
      <vt:lpstr>Delay – Dig out with bricks</vt:lpstr>
      <vt:lpstr>#3: Discovery/Difficulty (bigger/harder than we thought)</vt:lpstr>
      <vt:lpstr>I’m Working on my Fence –  Wait might happen?</vt:lpstr>
      <vt:lpstr>#4: Distraction (multitasking)  (see also Deprioritization, Dilly-Dally)</vt:lpstr>
      <vt:lpstr>But Wait – What about Waits</vt:lpstr>
      <vt:lpstr>Day 2: Replace 5 boards </vt:lpstr>
      <vt:lpstr>Next Batch:  Architecture Issues</vt:lpstr>
      <vt:lpstr>Technical Debt </vt:lpstr>
      <vt:lpstr>#3: Discovery/Difficulty (bigger/harder than we thought)</vt:lpstr>
      <vt:lpstr>Security Hole</vt:lpstr>
      <vt:lpstr>Scope Creep?</vt:lpstr>
      <vt:lpstr>Next phase </vt:lpstr>
      <vt:lpstr>Neighbor</vt:lpstr>
      <vt:lpstr>More technical debt</vt:lpstr>
      <vt:lpstr>#3: Discovery/Difficulty (bigger/harder than we thought)</vt:lpstr>
      <vt:lpstr>#6: Decisions </vt:lpstr>
      <vt:lpstr>Blackberry Bush</vt:lpstr>
      <vt:lpstr>Thorny Issues</vt:lpstr>
      <vt:lpstr>#8: Derailed?</vt:lpstr>
      <vt:lpstr>In progress</vt:lpstr>
      <vt:lpstr>Old Mother Hubbard</vt:lpstr>
      <vt:lpstr>#5: Dependency</vt:lpstr>
      <vt:lpstr>Success!</vt:lpstr>
      <vt:lpstr>8 D’s of Delay</vt:lpstr>
      <vt:lpstr>#1: Dawdle (wait in queue)</vt:lpstr>
      <vt:lpstr>#2: Defect</vt:lpstr>
      <vt:lpstr>#3: Discovery/Difficulty (bigger/harder than we thought)</vt:lpstr>
      <vt:lpstr>#4: Distraction (multitasking)  (see also Deprioritization, Dilly-Dally)</vt:lpstr>
      <vt:lpstr>#5: Dependency</vt:lpstr>
      <vt:lpstr>#6: Decisions </vt:lpstr>
      <vt:lpstr>#7: Departures Temporary – vacation, sick Longer term – resign</vt:lpstr>
      <vt:lpstr>#7: Departures Temporary – vacation, sick Longer term – resign</vt:lpstr>
      <vt:lpstr>#8: Derailed?</vt:lpstr>
      <vt:lpstr>But Wait – Did anyone notice the 8d”S”</vt:lpstr>
      <vt:lpstr>Scope Creep?</vt:lpstr>
      <vt:lpstr>The 8 D’s of Dela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ey Spooner</dc:creator>
  <cp:lastModifiedBy>Todd Little</cp:lastModifiedBy>
  <cp:revision>11</cp:revision>
  <dcterms:created xsi:type="dcterms:W3CDTF">2021-10-13T19:53:04Z</dcterms:created>
  <dcterms:modified xsi:type="dcterms:W3CDTF">2021-12-11T14:1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0566CC40C6C04182DD0A86DE66549F</vt:lpwstr>
  </property>
</Properties>
</file>